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0" r:id="rId3"/>
    <p:sldMasterId id="2147483696" r:id="rId4"/>
    <p:sldMasterId id="2147483709" r:id="rId5"/>
  </p:sldMasterIdLst>
  <p:sldIdLst>
    <p:sldId id="500" r:id="rId6"/>
  </p:sldIdLst>
  <p:sldSz cx="12192000" cy="6858000"/>
  <p:notesSz cx="6858000" cy="9144000"/>
  <p:defaultTextStyle>
    <a:defPPr>
      <a:defRPr lang="de-DE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9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D6C6B6D-7732-4B6A-8E9B-C4360D9AEF42}" type="doc">
      <dgm:prSet loTypeId="urn:microsoft.com/office/officeart/2005/8/layout/cycle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D104264-5F69-4B01-891F-E297546FEADC}">
      <dgm:prSet phldrT="[Text]" custT="1"/>
      <dgm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2000" noProof="0" dirty="0"/>
            <a:t>Depot</a:t>
          </a:r>
          <a:endParaRPr lang="de-DE" sz="2200" noProof="0" dirty="0"/>
        </a:p>
      </dgm:t>
    </dgm:pt>
    <dgm:pt modelId="{7CF56A14-FAAA-4368-9C54-4F5D30122415}" type="parTrans" cxnId="{285739B5-B035-440C-A37D-4A5F3B204B52}">
      <dgm:prSet/>
      <dgm:spPr/>
      <dgm:t>
        <a:bodyPr/>
        <a:lstStyle/>
        <a:p>
          <a:endParaRPr lang="en-US"/>
        </a:p>
      </dgm:t>
    </dgm:pt>
    <dgm:pt modelId="{F141410D-7A29-472A-85D8-B9C3628607EE}" type="sibTrans" cxnId="{285739B5-B035-440C-A37D-4A5F3B204B52}">
      <dgm:prSet/>
      <dgm:spPr/>
      <dgm:t>
        <a:bodyPr/>
        <a:lstStyle/>
        <a:p>
          <a:endParaRPr lang="en-US"/>
        </a:p>
      </dgm:t>
    </dgm:pt>
    <dgm:pt modelId="{7D6BF7E2-A79A-4633-B2DC-5CCF0CB170B8}">
      <dgm:prSet phldrT="[Text]" custT="1"/>
      <dgm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2000" noProof="0" dirty="0"/>
            <a:t>Home </a:t>
          </a:r>
          <a:r>
            <a:rPr lang="de-DE" sz="2000" noProof="0" dirty="0" err="1"/>
            <a:t>Address</a:t>
          </a:r>
          <a:endParaRPr lang="de-DE" sz="2000" noProof="0" dirty="0"/>
        </a:p>
      </dgm:t>
    </dgm:pt>
    <dgm:pt modelId="{8EB0E6B9-81BE-460C-A5D8-2A8C4DF72939}" type="parTrans" cxnId="{CE658A8F-82C4-45D5-A725-FE1904B3C7FA}">
      <dgm:prSet/>
      <dgm:spPr/>
      <dgm:t>
        <a:bodyPr/>
        <a:lstStyle/>
        <a:p>
          <a:endParaRPr lang="en-US"/>
        </a:p>
      </dgm:t>
    </dgm:pt>
    <dgm:pt modelId="{0002B51D-8ED8-4A4E-9F26-0429C69D4B6C}" type="sibTrans" cxnId="{CE658A8F-82C4-45D5-A725-FE1904B3C7FA}">
      <dgm:prSet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/>
        </a:p>
      </dgm:t>
    </dgm:pt>
    <dgm:pt modelId="{5D50D5CC-74CC-4F5F-8AF2-96E9CA13736A}">
      <dgm:prSet phldrT="[Text]" custT="1"/>
      <dgm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2000" noProof="0" dirty="0" err="1"/>
            <a:t>Deliveries</a:t>
          </a:r>
          <a:endParaRPr lang="de-DE" sz="2000" noProof="0" dirty="0"/>
        </a:p>
      </dgm:t>
    </dgm:pt>
    <dgm:pt modelId="{6D048045-6AB1-469B-8224-A73143A6EE95}" type="parTrans" cxnId="{CC2566E3-4935-45F1-A3D7-9A34AD799C2D}">
      <dgm:prSet/>
      <dgm:spPr/>
      <dgm:t>
        <a:bodyPr/>
        <a:lstStyle/>
        <a:p>
          <a:endParaRPr lang="en-US"/>
        </a:p>
      </dgm:t>
    </dgm:pt>
    <dgm:pt modelId="{63F6BA2B-E95F-4BA3-8021-7F1BDE2F7BC4}" type="sibTrans" cxnId="{CC2566E3-4935-45F1-A3D7-9A34AD799C2D}">
      <dgm:prSet/>
      <dgm:spPr/>
      <dgm:t>
        <a:bodyPr/>
        <a:lstStyle/>
        <a:p>
          <a:endParaRPr lang="en-US"/>
        </a:p>
      </dgm:t>
    </dgm:pt>
    <dgm:pt modelId="{6EBD4845-FF4F-4E2F-8002-0F2DD70B0237}">
      <dgm:prSet phldrT="[Text]" custT="1"/>
      <dgm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sz="2000" noProof="0" dirty="0"/>
            <a:t>Depot (Returns)</a:t>
          </a:r>
        </a:p>
      </dgm:t>
    </dgm:pt>
    <dgm:pt modelId="{10B96902-C902-4AF2-8F39-8DE0AA718B8A}" type="parTrans" cxnId="{B03BBE7A-55AD-46B9-AFDC-04776534AD57}">
      <dgm:prSet/>
      <dgm:spPr/>
      <dgm:t>
        <a:bodyPr/>
        <a:lstStyle/>
        <a:p>
          <a:endParaRPr lang="en-US"/>
        </a:p>
      </dgm:t>
    </dgm:pt>
    <dgm:pt modelId="{6219C6B5-BF39-425C-A958-9842B0B07037}" type="sibTrans" cxnId="{B03BBE7A-55AD-46B9-AFDC-04776534AD57}">
      <dgm:prSet/>
      <dgm:spPr/>
      <dgm:t>
        <a:bodyPr/>
        <a:lstStyle/>
        <a:p>
          <a:endParaRPr lang="en-US"/>
        </a:p>
      </dgm:t>
    </dgm:pt>
    <dgm:pt modelId="{27AEEA29-E1C1-4A41-848A-576D2F9F88CF}" type="pres">
      <dgm:prSet presAssocID="{CD6C6B6D-7732-4B6A-8E9B-C4360D9AEF42}" presName="cycle" presStyleCnt="0">
        <dgm:presLayoutVars>
          <dgm:dir/>
          <dgm:resizeHandles val="exact"/>
        </dgm:presLayoutVars>
      </dgm:prSet>
      <dgm:spPr/>
    </dgm:pt>
    <dgm:pt modelId="{CACE4AA0-7DA3-4CDE-B941-93642A68A8DD}" type="pres">
      <dgm:prSet presAssocID="{7D6BF7E2-A79A-4633-B2DC-5CCF0CB170B8}" presName="node" presStyleLbl="node1" presStyleIdx="0" presStyleCnt="4">
        <dgm:presLayoutVars>
          <dgm:bulletEnabled val="1"/>
        </dgm:presLayoutVars>
      </dgm:prSet>
      <dgm:spPr/>
    </dgm:pt>
    <dgm:pt modelId="{52590A0C-7309-4C71-A82F-79EDAF5A753E}" type="pres">
      <dgm:prSet presAssocID="{7D6BF7E2-A79A-4633-B2DC-5CCF0CB170B8}" presName="spNode" presStyleCnt="0"/>
      <dgm:spPr/>
    </dgm:pt>
    <dgm:pt modelId="{EA4760D3-034E-453E-BBCB-C4F48CB123B1}" type="pres">
      <dgm:prSet presAssocID="{0002B51D-8ED8-4A4E-9F26-0429C69D4B6C}" presName="sibTrans" presStyleLbl="sibTrans1D1" presStyleIdx="0" presStyleCnt="4"/>
      <dgm:spPr/>
    </dgm:pt>
    <dgm:pt modelId="{58454987-0FF1-4159-AB59-B5594281B1DE}" type="pres">
      <dgm:prSet presAssocID="{BD104264-5F69-4B01-891F-E297546FEADC}" presName="node" presStyleLbl="node1" presStyleIdx="1" presStyleCnt="4">
        <dgm:presLayoutVars>
          <dgm:bulletEnabled val="1"/>
        </dgm:presLayoutVars>
      </dgm:prSet>
      <dgm:spPr/>
    </dgm:pt>
    <dgm:pt modelId="{E7D1A2FC-51AF-4D37-A5BC-1243615017EF}" type="pres">
      <dgm:prSet presAssocID="{BD104264-5F69-4B01-891F-E297546FEADC}" presName="spNode" presStyleCnt="0"/>
      <dgm:spPr/>
    </dgm:pt>
    <dgm:pt modelId="{202C8FE3-7776-465E-AA76-67E24981176B}" type="pres">
      <dgm:prSet presAssocID="{F141410D-7A29-472A-85D8-B9C3628607EE}" presName="sibTrans" presStyleLbl="sibTrans1D1" presStyleIdx="1" presStyleCnt="4"/>
      <dgm:spPr/>
    </dgm:pt>
    <dgm:pt modelId="{28B7D9A8-1B15-46BC-B7D9-7E4512E2EC44}" type="pres">
      <dgm:prSet presAssocID="{5D50D5CC-74CC-4F5F-8AF2-96E9CA13736A}" presName="node" presStyleLbl="node1" presStyleIdx="2" presStyleCnt="4">
        <dgm:presLayoutVars>
          <dgm:bulletEnabled val="1"/>
        </dgm:presLayoutVars>
      </dgm:prSet>
      <dgm:spPr/>
    </dgm:pt>
    <dgm:pt modelId="{69021387-EFC5-4FA3-93AC-EC7FEB39A995}" type="pres">
      <dgm:prSet presAssocID="{5D50D5CC-74CC-4F5F-8AF2-96E9CA13736A}" presName="spNode" presStyleCnt="0"/>
      <dgm:spPr/>
    </dgm:pt>
    <dgm:pt modelId="{23DC8D0B-10E9-4C3B-BB0A-96842A83A360}" type="pres">
      <dgm:prSet presAssocID="{63F6BA2B-E95F-4BA3-8021-7F1BDE2F7BC4}" presName="sibTrans" presStyleLbl="sibTrans1D1" presStyleIdx="2" presStyleCnt="4"/>
      <dgm:spPr/>
    </dgm:pt>
    <dgm:pt modelId="{6FC97492-5A01-4D8C-AD82-487E32BE526C}" type="pres">
      <dgm:prSet presAssocID="{6EBD4845-FF4F-4E2F-8002-0F2DD70B0237}" presName="node" presStyleLbl="node1" presStyleIdx="3" presStyleCnt="4">
        <dgm:presLayoutVars>
          <dgm:bulletEnabled val="1"/>
        </dgm:presLayoutVars>
      </dgm:prSet>
      <dgm:spPr/>
    </dgm:pt>
    <dgm:pt modelId="{2B7C2543-B062-43AF-A56E-0C68C3A93333}" type="pres">
      <dgm:prSet presAssocID="{6EBD4845-FF4F-4E2F-8002-0F2DD70B0237}" presName="spNode" presStyleCnt="0"/>
      <dgm:spPr/>
    </dgm:pt>
    <dgm:pt modelId="{A3FC429A-6D1C-4E1C-824C-2BAEDC02579D}" type="pres">
      <dgm:prSet presAssocID="{6219C6B5-BF39-425C-A958-9842B0B07037}" presName="sibTrans" presStyleLbl="sibTrans1D1" presStyleIdx="3" presStyleCnt="4"/>
      <dgm:spPr/>
    </dgm:pt>
  </dgm:ptLst>
  <dgm:cxnLst>
    <dgm:cxn modelId="{D173D705-09AE-409E-99E1-CC41BAD11F33}" type="presOf" srcId="{F141410D-7A29-472A-85D8-B9C3628607EE}" destId="{202C8FE3-7776-465E-AA76-67E24981176B}" srcOrd="0" destOrd="0" presId="urn:microsoft.com/office/officeart/2005/8/layout/cycle5"/>
    <dgm:cxn modelId="{3825B10A-0FE2-4E2A-B05D-4BCEF9007A6E}" type="presOf" srcId="{0002B51D-8ED8-4A4E-9F26-0429C69D4B6C}" destId="{EA4760D3-034E-453E-BBCB-C4F48CB123B1}" srcOrd="0" destOrd="0" presId="urn:microsoft.com/office/officeart/2005/8/layout/cycle5"/>
    <dgm:cxn modelId="{CF6F410E-D09C-4376-8CDC-0A367FE14122}" type="presOf" srcId="{BD104264-5F69-4B01-891F-E297546FEADC}" destId="{58454987-0FF1-4159-AB59-B5594281B1DE}" srcOrd="0" destOrd="0" presId="urn:microsoft.com/office/officeart/2005/8/layout/cycle5"/>
    <dgm:cxn modelId="{7AED4D2C-9AF5-4EDA-B6DF-4C27A5370603}" type="presOf" srcId="{5D50D5CC-74CC-4F5F-8AF2-96E9CA13736A}" destId="{28B7D9A8-1B15-46BC-B7D9-7E4512E2EC44}" srcOrd="0" destOrd="0" presId="urn:microsoft.com/office/officeart/2005/8/layout/cycle5"/>
    <dgm:cxn modelId="{60778E65-012B-4CA8-9AB0-60FA8ED7E6FC}" type="presOf" srcId="{7D6BF7E2-A79A-4633-B2DC-5CCF0CB170B8}" destId="{CACE4AA0-7DA3-4CDE-B941-93642A68A8DD}" srcOrd="0" destOrd="0" presId="urn:microsoft.com/office/officeart/2005/8/layout/cycle5"/>
    <dgm:cxn modelId="{952C2F47-1C98-4D72-B467-D014B034C9E9}" type="presOf" srcId="{6EBD4845-FF4F-4E2F-8002-0F2DD70B0237}" destId="{6FC97492-5A01-4D8C-AD82-487E32BE526C}" srcOrd="0" destOrd="0" presId="urn:microsoft.com/office/officeart/2005/8/layout/cycle5"/>
    <dgm:cxn modelId="{B03BBE7A-55AD-46B9-AFDC-04776534AD57}" srcId="{CD6C6B6D-7732-4B6A-8E9B-C4360D9AEF42}" destId="{6EBD4845-FF4F-4E2F-8002-0F2DD70B0237}" srcOrd="3" destOrd="0" parTransId="{10B96902-C902-4AF2-8F39-8DE0AA718B8A}" sibTransId="{6219C6B5-BF39-425C-A958-9842B0B07037}"/>
    <dgm:cxn modelId="{CE658A8F-82C4-45D5-A725-FE1904B3C7FA}" srcId="{CD6C6B6D-7732-4B6A-8E9B-C4360D9AEF42}" destId="{7D6BF7E2-A79A-4633-B2DC-5CCF0CB170B8}" srcOrd="0" destOrd="0" parTransId="{8EB0E6B9-81BE-460C-A5D8-2A8C4DF72939}" sibTransId="{0002B51D-8ED8-4A4E-9F26-0429C69D4B6C}"/>
    <dgm:cxn modelId="{285739B5-B035-440C-A37D-4A5F3B204B52}" srcId="{CD6C6B6D-7732-4B6A-8E9B-C4360D9AEF42}" destId="{BD104264-5F69-4B01-891F-E297546FEADC}" srcOrd="1" destOrd="0" parTransId="{7CF56A14-FAAA-4368-9C54-4F5D30122415}" sibTransId="{F141410D-7A29-472A-85D8-B9C3628607EE}"/>
    <dgm:cxn modelId="{E3C19CB5-F824-4C21-9F4B-20115558B1B5}" type="presOf" srcId="{63F6BA2B-E95F-4BA3-8021-7F1BDE2F7BC4}" destId="{23DC8D0B-10E9-4C3B-BB0A-96842A83A360}" srcOrd="0" destOrd="0" presId="urn:microsoft.com/office/officeart/2005/8/layout/cycle5"/>
    <dgm:cxn modelId="{820FBDD9-9263-4C97-A320-5DA7CE41E5E3}" type="presOf" srcId="{CD6C6B6D-7732-4B6A-8E9B-C4360D9AEF42}" destId="{27AEEA29-E1C1-4A41-848A-576D2F9F88CF}" srcOrd="0" destOrd="0" presId="urn:microsoft.com/office/officeart/2005/8/layout/cycle5"/>
    <dgm:cxn modelId="{FB3C9FDB-5799-4439-B2AF-9FA45BF8DE1D}" type="presOf" srcId="{6219C6B5-BF39-425C-A958-9842B0B07037}" destId="{A3FC429A-6D1C-4E1C-824C-2BAEDC02579D}" srcOrd="0" destOrd="0" presId="urn:microsoft.com/office/officeart/2005/8/layout/cycle5"/>
    <dgm:cxn modelId="{CC2566E3-4935-45F1-A3D7-9A34AD799C2D}" srcId="{CD6C6B6D-7732-4B6A-8E9B-C4360D9AEF42}" destId="{5D50D5CC-74CC-4F5F-8AF2-96E9CA13736A}" srcOrd="2" destOrd="0" parTransId="{6D048045-6AB1-469B-8224-A73143A6EE95}" sibTransId="{63F6BA2B-E95F-4BA3-8021-7F1BDE2F7BC4}"/>
    <dgm:cxn modelId="{916C4285-F1C9-4100-AAAF-0415453CEE10}" type="presParOf" srcId="{27AEEA29-E1C1-4A41-848A-576D2F9F88CF}" destId="{CACE4AA0-7DA3-4CDE-B941-93642A68A8DD}" srcOrd="0" destOrd="0" presId="urn:microsoft.com/office/officeart/2005/8/layout/cycle5"/>
    <dgm:cxn modelId="{F0A8E664-5D3A-4CF8-BE87-02452281A6E3}" type="presParOf" srcId="{27AEEA29-E1C1-4A41-848A-576D2F9F88CF}" destId="{52590A0C-7309-4C71-A82F-79EDAF5A753E}" srcOrd="1" destOrd="0" presId="urn:microsoft.com/office/officeart/2005/8/layout/cycle5"/>
    <dgm:cxn modelId="{A2CF1F8B-78A9-43A2-AC2B-8D704E2E9BD5}" type="presParOf" srcId="{27AEEA29-E1C1-4A41-848A-576D2F9F88CF}" destId="{EA4760D3-034E-453E-BBCB-C4F48CB123B1}" srcOrd="2" destOrd="0" presId="urn:microsoft.com/office/officeart/2005/8/layout/cycle5"/>
    <dgm:cxn modelId="{6FB044D2-B9ED-4C99-85D7-419DFE17FDCC}" type="presParOf" srcId="{27AEEA29-E1C1-4A41-848A-576D2F9F88CF}" destId="{58454987-0FF1-4159-AB59-B5594281B1DE}" srcOrd="3" destOrd="0" presId="urn:microsoft.com/office/officeart/2005/8/layout/cycle5"/>
    <dgm:cxn modelId="{7E8D292C-28E8-4625-AB4D-CE9B39F35871}" type="presParOf" srcId="{27AEEA29-E1C1-4A41-848A-576D2F9F88CF}" destId="{E7D1A2FC-51AF-4D37-A5BC-1243615017EF}" srcOrd="4" destOrd="0" presId="urn:microsoft.com/office/officeart/2005/8/layout/cycle5"/>
    <dgm:cxn modelId="{788E02F9-5FB6-4AA9-9F91-098520517C6C}" type="presParOf" srcId="{27AEEA29-E1C1-4A41-848A-576D2F9F88CF}" destId="{202C8FE3-7776-465E-AA76-67E24981176B}" srcOrd="5" destOrd="0" presId="urn:microsoft.com/office/officeart/2005/8/layout/cycle5"/>
    <dgm:cxn modelId="{4A6572F1-1C3A-4C70-BDB1-F69304C634AF}" type="presParOf" srcId="{27AEEA29-E1C1-4A41-848A-576D2F9F88CF}" destId="{28B7D9A8-1B15-46BC-B7D9-7E4512E2EC44}" srcOrd="6" destOrd="0" presId="urn:microsoft.com/office/officeart/2005/8/layout/cycle5"/>
    <dgm:cxn modelId="{F9C7E841-16AE-4131-ABE4-5935255273AA}" type="presParOf" srcId="{27AEEA29-E1C1-4A41-848A-576D2F9F88CF}" destId="{69021387-EFC5-4FA3-93AC-EC7FEB39A995}" srcOrd="7" destOrd="0" presId="urn:microsoft.com/office/officeart/2005/8/layout/cycle5"/>
    <dgm:cxn modelId="{D70DC83A-0CA9-492D-BFCE-37992077EAF5}" type="presParOf" srcId="{27AEEA29-E1C1-4A41-848A-576D2F9F88CF}" destId="{23DC8D0B-10E9-4C3B-BB0A-96842A83A360}" srcOrd="8" destOrd="0" presId="urn:microsoft.com/office/officeart/2005/8/layout/cycle5"/>
    <dgm:cxn modelId="{CC63E03C-A705-4B3B-945C-2B2EB10F2FA3}" type="presParOf" srcId="{27AEEA29-E1C1-4A41-848A-576D2F9F88CF}" destId="{6FC97492-5A01-4D8C-AD82-487E32BE526C}" srcOrd="9" destOrd="0" presId="urn:microsoft.com/office/officeart/2005/8/layout/cycle5"/>
    <dgm:cxn modelId="{5B9C001E-7406-435B-8044-9FF65180993D}" type="presParOf" srcId="{27AEEA29-E1C1-4A41-848A-576D2F9F88CF}" destId="{2B7C2543-B062-43AF-A56E-0C68C3A93333}" srcOrd="10" destOrd="0" presId="urn:microsoft.com/office/officeart/2005/8/layout/cycle5"/>
    <dgm:cxn modelId="{687256C7-E332-40B3-BC51-B2F45B282FFE}" type="presParOf" srcId="{27AEEA29-E1C1-4A41-848A-576D2F9F88CF}" destId="{A3FC429A-6D1C-4E1C-824C-2BAEDC02579D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D6C6B6D-7732-4B6A-8E9B-C4360D9AEF42}" type="doc">
      <dgm:prSet loTypeId="urn:microsoft.com/office/officeart/2005/8/layout/cycle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D104264-5F69-4B01-891F-E297546FEADC}">
      <dgm:prSet phldrT="[Text]"/>
      <dgm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noProof="0" dirty="0"/>
            <a:t>Base Camp</a:t>
          </a:r>
        </a:p>
        <a:p>
          <a:r>
            <a:rPr lang="de-DE" noProof="0" dirty="0"/>
            <a:t>(Work Start)</a:t>
          </a:r>
        </a:p>
      </dgm:t>
    </dgm:pt>
    <dgm:pt modelId="{7CF56A14-FAAA-4368-9C54-4F5D30122415}" type="parTrans" cxnId="{285739B5-B035-440C-A37D-4A5F3B204B52}">
      <dgm:prSet/>
      <dgm:spPr/>
      <dgm:t>
        <a:bodyPr/>
        <a:lstStyle/>
        <a:p>
          <a:endParaRPr lang="en-US"/>
        </a:p>
      </dgm:t>
    </dgm:pt>
    <dgm:pt modelId="{F141410D-7A29-472A-85D8-B9C3628607EE}" type="sibTrans" cxnId="{285739B5-B035-440C-A37D-4A5F3B204B52}">
      <dgm:prSet/>
      <dgm:spPr/>
      <dgm:t>
        <a:bodyPr/>
        <a:lstStyle/>
        <a:p>
          <a:endParaRPr lang="en-US"/>
        </a:p>
      </dgm:t>
    </dgm:pt>
    <dgm:pt modelId="{7D6BF7E2-A79A-4633-B2DC-5CCF0CB170B8}">
      <dgm:prSet phldrT="[Text]"/>
      <dgm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noProof="0" dirty="0"/>
            <a:t>Home </a:t>
          </a:r>
          <a:r>
            <a:rPr lang="de-DE" noProof="0" dirty="0" err="1"/>
            <a:t>Address</a:t>
          </a:r>
          <a:endParaRPr lang="de-DE" noProof="0" dirty="0"/>
        </a:p>
      </dgm:t>
    </dgm:pt>
    <dgm:pt modelId="{8EB0E6B9-81BE-460C-A5D8-2A8C4DF72939}" type="parTrans" cxnId="{CE658A8F-82C4-45D5-A725-FE1904B3C7FA}">
      <dgm:prSet/>
      <dgm:spPr/>
      <dgm:t>
        <a:bodyPr/>
        <a:lstStyle/>
        <a:p>
          <a:endParaRPr lang="en-US"/>
        </a:p>
      </dgm:t>
    </dgm:pt>
    <dgm:pt modelId="{0002B51D-8ED8-4A4E-9F26-0429C69D4B6C}" type="sibTrans" cxnId="{CE658A8F-82C4-45D5-A725-FE1904B3C7FA}">
      <dgm:prSet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/>
        </a:p>
      </dgm:t>
    </dgm:pt>
    <dgm:pt modelId="{5D50D5CC-74CC-4F5F-8AF2-96E9CA13736A}">
      <dgm:prSet phldrT="[Text]"/>
      <dgm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noProof="0" dirty="0" err="1"/>
            <a:t>Deliveries</a:t>
          </a:r>
          <a:endParaRPr lang="de-DE" noProof="0" dirty="0"/>
        </a:p>
      </dgm:t>
    </dgm:pt>
    <dgm:pt modelId="{6D048045-6AB1-469B-8224-A73143A6EE95}" type="parTrans" cxnId="{CC2566E3-4935-45F1-A3D7-9A34AD799C2D}">
      <dgm:prSet/>
      <dgm:spPr/>
      <dgm:t>
        <a:bodyPr/>
        <a:lstStyle/>
        <a:p>
          <a:endParaRPr lang="en-US"/>
        </a:p>
      </dgm:t>
    </dgm:pt>
    <dgm:pt modelId="{63F6BA2B-E95F-4BA3-8021-7F1BDE2F7BC4}" type="sibTrans" cxnId="{CC2566E3-4935-45F1-A3D7-9A34AD799C2D}">
      <dgm:prSet/>
      <dgm:spPr/>
      <dgm:t>
        <a:bodyPr/>
        <a:lstStyle/>
        <a:p>
          <a:endParaRPr lang="en-US"/>
        </a:p>
      </dgm:t>
    </dgm:pt>
    <dgm:pt modelId="{6EBD4845-FF4F-4E2F-8002-0F2DD70B0237}">
      <dgm:prSet phldrT="[Text]"/>
      <dgm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noProof="0" dirty="0"/>
            <a:t>Depot (Returns)</a:t>
          </a:r>
        </a:p>
      </dgm:t>
    </dgm:pt>
    <dgm:pt modelId="{10B96902-C902-4AF2-8F39-8DE0AA718B8A}" type="parTrans" cxnId="{B03BBE7A-55AD-46B9-AFDC-04776534AD57}">
      <dgm:prSet/>
      <dgm:spPr/>
      <dgm:t>
        <a:bodyPr/>
        <a:lstStyle/>
        <a:p>
          <a:endParaRPr lang="en-US"/>
        </a:p>
      </dgm:t>
    </dgm:pt>
    <dgm:pt modelId="{6219C6B5-BF39-425C-A958-9842B0B07037}" type="sibTrans" cxnId="{B03BBE7A-55AD-46B9-AFDC-04776534AD57}">
      <dgm:prSet/>
      <dgm:spPr/>
      <dgm:t>
        <a:bodyPr/>
        <a:lstStyle/>
        <a:p>
          <a:endParaRPr lang="en-US"/>
        </a:p>
      </dgm:t>
    </dgm:pt>
    <dgm:pt modelId="{45D7FDB2-D61E-4F46-BB9E-45CC55CA2DDF}">
      <dgm:prSet phldrT="[Text]"/>
      <dgm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e-DE" noProof="0" dirty="0"/>
            <a:t>Base Camp</a:t>
          </a:r>
        </a:p>
        <a:p>
          <a:r>
            <a:rPr lang="de-DE" noProof="0" dirty="0"/>
            <a:t>(Work End)</a:t>
          </a:r>
        </a:p>
      </dgm:t>
    </dgm:pt>
    <dgm:pt modelId="{41D7B944-2DC3-4FC8-9263-40789AF46E70}" type="parTrans" cxnId="{9A6912DC-EBC3-452D-A377-67D61F87B536}">
      <dgm:prSet/>
      <dgm:spPr/>
      <dgm:t>
        <a:bodyPr/>
        <a:lstStyle/>
        <a:p>
          <a:endParaRPr lang="en-US"/>
        </a:p>
      </dgm:t>
    </dgm:pt>
    <dgm:pt modelId="{BF227B86-36D6-4CE8-973F-9AC5A3287417}" type="sibTrans" cxnId="{9A6912DC-EBC3-452D-A377-67D61F87B536}">
      <dgm:prSet/>
      <dgm:spPr/>
      <dgm:t>
        <a:bodyPr/>
        <a:lstStyle/>
        <a:p>
          <a:endParaRPr lang="en-US"/>
        </a:p>
      </dgm:t>
    </dgm:pt>
    <dgm:pt modelId="{E5FCE09C-DB2F-4A76-BEA9-6313BE707431}">
      <dgm:prSet/>
      <dgm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/>
            <a:t>Depot</a:t>
          </a:r>
        </a:p>
      </dgm:t>
    </dgm:pt>
    <dgm:pt modelId="{46B5F4A0-CC8B-46BE-A24E-96ADEF92CE74}" type="parTrans" cxnId="{95230C84-093B-49B8-8619-9DCDF5BE909E}">
      <dgm:prSet/>
      <dgm:spPr/>
      <dgm:t>
        <a:bodyPr/>
        <a:lstStyle/>
        <a:p>
          <a:endParaRPr lang="en-US"/>
        </a:p>
      </dgm:t>
    </dgm:pt>
    <dgm:pt modelId="{A8A6D279-8A68-4BF2-B012-2D3E80914403}" type="sibTrans" cxnId="{95230C84-093B-49B8-8619-9DCDF5BE909E}">
      <dgm:prSet/>
      <dgm:spPr/>
      <dgm:t>
        <a:bodyPr/>
        <a:lstStyle/>
        <a:p>
          <a:endParaRPr lang="en-US"/>
        </a:p>
      </dgm:t>
    </dgm:pt>
    <dgm:pt modelId="{27AEEA29-E1C1-4A41-848A-576D2F9F88CF}" type="pres">
      <dgm:prSet presAssocID="{CD6C6B6D-7732-4B6A-8E9B-C4360D9AEF42}" presName="cycle" presStyleCnt="0">
        <dgm:presLayoutVars>
          <dgm:dir/>
          <dgm:resizeHandles val="exact"/>
        </dgm:presLayoutVars>
      </dgm:prSet>
      <dgm:spPr/>
    </dgm:pt>
    <dgm:pt modelId="{CACE4AA0-7DA3-4CDE-B941-93642A68A8DD}" type="pres">
      <dgm:prSet presAssocID="{7D6BF7E2-A79A-4633-B2DC-5CCF0CB170B8}" presName="node" presStyleLbl="node1" presStyleIdx="0" presStyleCnt="6">
        <dgm:presLayoutVars>
          <dgm:bulletEnabled val="1"/>
        </dgm:presLayoutVars>
      </dgm:prSet>
      <dgm:spPr/>
    </dgm:pt>
    <dgm:pt modelId="{52590A0C-7309-4C71-A82F-79EDAF5A753E}" type="pres">
      <dgm:prSet presAssocID="{7D6BF7E2-A79A-4633-B2DC-5CCF0CB170B8}" presName="spNode" presStyleCnt="0"/>
      <dgm:spPr/>
    </dgm:pt>
    <dgm:pt modelId="{EA4760D3-034E-453E-BBCB-C4F48CB123B1}" type="pres">
      <dgm:prSet presAssocID="{0002B51D-8ED8-4A4E-9F26-0429C69D4B6C}" presName="sibTrans" presStyleLbl="sibTrans1D1" presStyleIdx="0" presStyleCnt="6"/>
      <dgm:spPr/>
    </dgm:pt>
    <dgm:pt modelId="{58454987-0FF1-4159-AB59-B5594281B1DE}" type="pres">
      <dgm:prSet presAssocID="{BD104264-5F69-4B01-891F-E297546FEADC}" presName="node" presStyleLbl="node1" presStyleIdx="1" presStyleCnt="6">
        <dgm:presLayoutVars>
          <dgm:bulletEnabled val="1"/>
        </dgm:presLayoutVars>
      </dgm:prSet>
      <dgm:spPr/>
    </dgm:pt>
    <dgm:pt modelId="{E7D1A2FC-51AF-4D37-A5BC-1243615017EF}" type="pres">
      <dgm:prSet presAssocID="{BD104264-5F69-4B01-891F-E297546FEADC}" presName="spNode" presStyleCnt="0"/>
      <dgm:spPr/>
    </dgm:pt>
    <dgm:pt modelId="{202C8FE3-7776-465E-AA76-67E24981176B}" type="pres">
      <dgm:prSet presAssocID="{F141410D-7A29-472A-85D8-B9C3628607EE}" presName="sibTrans" presStyleLbl="sibTrans1D1" presStyleIdx="1" presStyleCnt="6"/>
      <dgm:spPr/>
    </dgm:pt>
    <dgm:pt modelId="{4DEF98C9-8A66-4034-A21F-42EF3249B94F}" type="pres">
      <dgm:prSet presAssocID="{E5FCE09C-DB2F-4A76-BEA9-6313BE707431}" presName="node" presStyleLbl="node1" presStyleIdx="2" presStyleCnt="6">
        <dgm:presLayoutVars>
          <dgm:bulletEnabled val="1"/>
        </dgm:presLayoutVars>
      </dgm:prSet>
      <dgm:spPr/>
    </dgm:pt>
    <dgm:pt modelId="{D926AE9A-F155-4F6F-AA5E-B48ED674CC9D}" type="pres">
      <dgm:prSet presAssocID="{E5FCE09C-DB2F-4A76-BEA9-6313BE707431}" presName="spNode" presStyleCnt="0"/>
      <dgm:spPr/>
    </dgm:pt>
    <dgm:pt modelId="{93E5AEBD-EDEA-4834-860D-9010ECAAA268}" type="pres">
      <dgm:prSet presAssocID="{A8A6D279-8A68-4BF2-B012-2D3E80914403}" presName="sibTrans" presStyleLbl="sibTrans1D1" presStyleIdx="2" presStyleCnt="6"/>
      <dgm:spPr/>
    </dgm:pt>
    <dgm:pt modelId="{28B7D9A8-1B15-46BC-B7D9-7E4512E2EC44}" type="pres">
      <dgm:prSet presAssocID="{5D50D5CC-74CC-4F5F-8AF2-96E9CA13736A}" presName="node" presStyleLbl="node1" presStyleIdx="3" presStyleCnt="6">
        <dgm:presLayoutVars>
          <dgm:bulletEnabled val="1"/>
        </dgm:presLayoutVars>
      </dgm:prSet>
      <dgm:spPr/>
    </dgm:pt>
    <dgm:pt modelId="{69021387-EFC5-4FA3-93AC-EC7FEB39A995}" type="pres">
      <dgm:prSet presAssocID="{5D50D5CC-74CC-4F5F-8AF2-96E9CA13736A}" presName="spNode" presStyleCnt="0"/>
      <dgm:spPr/>
    </dgm:pt>
    <dgm:pt modelId="{23DC8D0B-10E9-4C3B-BB0A-96842A83A360}" type="pres">
      <dgm:prSet presAssocID="{63F6BA2B-E95F-4BA3-8021-7F1BDE2F7BC4}" presName="sibTrans" presStyleLbl="sibTrans1D1" presStyleIdx="3" presStyleCnt="6"/>
      <dgm:spPr/>
    </dgm:pt>
    <dgm:pt modelId="{6FC97492-5A01-4D8C-AD82-487E32BE526C}" type="pres">
      <dgm:prSet presAssocID="{6EBD4845-FF4F-4E2F-8002-0F2DD70B0237}" presName="node" presStyleLbl="node1" presStyleIdx="4" presStyleCnt="6">
        <dgm:presLayoutVars>
          <dgm:bulletEnabled val="1"/>
        </dgm:presLayoutVars>
      </dgm:prSet>
      <dgm:spPr/>
    </dgm:pt>
    <dgm:pt modelId="{2B7C2543-B062-43AF-A56E-0C68C3A93333}" type="pres">
      <dgm:prSet presAssocID="{6EBD4845-FF4F-4E2F-8002-0F2DD70B0237}" presName="spNode" presStyleCnt="0"/>
      <dgm:spPr/>
    </dgm:pt>
    <dgm:pt modelId="{A3FC429A-6D1C-4E1C-824C-2BAEDC02579D}" type="pres">
      <dgm:prSet presAssocID="{6219C6B5-BF39-425C-A958-9842B0B07037}" presName="sibTrans" presStyleLbl="sibTrans1D1" presStyleIdx="4" presStyleCnt="6"/>
      <dgm:spPr/>
    </dgm:pt>
    <dgm:pt modelId="{0DB1D030-A6EB-4C1B-9C95-D46753ECCFFD}" type="pres">
      <dgm:prSet presAssocID="{45D7FDB2-D61E-4F46-BB9E-45CC55CA2DDF}" presName="node" presStyleLbl="node1" presStyleIdx="5" presStyleCnt="6">
        <dgm:presLayoutVars>
          <dgm:bulletEnabled val="1"/>
        </dgm:presLayoutVars>
      </dgm:prSet>
      <dgm:spPr/>
    </dgm:pt>
    <dgm:pt modelId="{C7D994BF-503A-461B-91A2-B856D0378A11}" type="pres">
      <dgm:prSet presAssocID="{45D7FDB2-D61E-4F46-BB9E-45CC55CA2DDF}" presName="spNode" presStyleCnt="0"/>
      <dgm:spPr/>
    </dgm:pt>
    <dgm:pt modelId="{13775397-C30B-4CA1-91BD-6FC76DB8F3AB}" type="pres">
      <dgm:prSet presAssocID="{BF227B86-36D6-4CE8-973F-9AC5A3287417}" presName="sibTrans" presStyleLbl="sibTrans1D1" presStyleIdx="5" presStyleCnt="6"/>
      <dgm:spPr/>
    </dgm:pt>
  </dgm:ptLst>
  <dgm:cxnLst>
    <dgm:cxn modelId="{D173D705-09AE-409E-99E1-CC41BAD11F33}" type="presOf" srcId="{F141410D-7A29-472A-85D8-B9C3628607EE}" destId="{202C8FE3-7776-465E-AA76-67E24981176B}" srcOrd="0" destOrd="0" presId="urn:microsoft.com/office/officeart/2005/8/layout/cycle5"/>
    <dgm:cxn modelId="{3825B10A-0FE2-4E2A-B05D-4BCEF9007A6E}" type="presOf" srcId="{0002B51D-8ED8-4A4E-9F26-0429C69D4B6C}" destId="{EA4760D3-034E-453E-BBCB-C4F48CB123B1}" srcOrd="0" destOrd="0" presId="urn:microsoft.com/office/officeart/2005/8/layout/cycle5"/>
    <dgm:cxn modelId="{CF6F410E-D09C-4376-8CDC-0A367FE14122}" type="presOf" srcId="{BD104264-5F69-4B01-891F-E297546FEADC}" destId="{58454987-0FF1-4159-AB59-B5594281B1DE}" srcOrd="0" destOrd="0" presId="urn:microsoft.com/office/officeart/2005/8/layout/cycle5"/>
    <dgm:cxn modelId="{7AED4D2C-9AF5-4EDA-B6DF-4C27A5370603}" type="presOf" srcId="{5D50D5CC-74CC-4F5F-8AF2-96E9CA13736A}" destId="{28B7D9A8-1B15-46BC-B7D9-7E4512E2EC44}" srcOrd="0" destOrd="0" presId="urn:microsoft.com/office/officeart/2005/8/layout/cycle5"/>
    <dgm:cxn modelId="{99510936-BAC3-4DDC-8E7A-03EC85A87A93}" type="presOf" srcId="{BF227B86-36D6-4CE8-973F-9AC5A3287417}" destId="{13775397-C30B-4CA1-91BD-6FC76DB8F3AB}" srcOrd="0" destOrd="0" presId="urn:microsoft.com/office/officeart/2005/8/layout/cycle5"/>
    <dgm:cxn modelId="{60778E65-012B-4CA8-9AB0-60FA8ED7E6FC}" type="presOf" srcId="{7D6BF7E2-A79A-4633-B2DC-5CCF0CB170B8}" destId="{CACE4AA0-7DA3-4CDE-B941-93642A68A8DD}" srcOrd="0" destOrd="0" presId="urn:microsoft.com/office/officeart/2005/8/layout/cycle5"/>
    <dgm:cxn modelId="{952C2F47-1C98-4D72-B467-D014B034C9E9}" type="presOf" srcId="{6EBD4845-FF4F-4E2F-8002-0F2DD70B0237}" destId="{6FC97492-5A01-4D8C-AD82-487E32BE526C}" srcOrd="0" destOrd="0" presId="urn:microsoft.com/office/officeart/2005/8/layout/cycle5"/>
    <dgm:cxn modelId="{9B599D6B-CA10-4325-A713-E30A4AAA1189}" type="presOf" srcId="{45D7FDB2-D61E-4F46-BB9E-45CC55CA2DDF}" destId="{0DB1D030-A6EB-4C1B-9C95-D46753ECCFFD}" srcOrd="0" destOrd="0" presId="urn:microsoft.com/office/officeart/2005/8/layout/cycle5"/>
    <dgm:cxn modelId="{B199F650-0BC0-4FFE-A59A-116392118A93}" type="presOf" srcId="{E5FCE09C-DB2F-4A76-BEA9-6313BE707431}" destId="{4DEF98C9-8A66-4034-A21F-42EF3249B94F}" srcOrd="0" destOrd="0" presId="urn:microsoft.com/office/officeart/2005/8/layout/cycle5"/>
    <dgm:cxn modelId="{B03BBE7A-55AD-46B9-AFDC-04776534AD57}" srcId="{CD6C6B6D-7732-4B6A-8E9B-C4360D9AEF42}" destId="{6EBD4845-FF4F-4E2F-8002-0F2DD70B0237}" srcOrd="4" destOrd="0" parTransId="{10B96902-C902-4AF2-8F39-8DE0AA718B8A}" sibTransId="{6219C6B5-BF39-425C-A958-9842B0B07037}"/>
    <dgm:cxn modelId="{95230C84-093B-49B8-8619-9DCDF5BE909E}" srcId="{CD6C6B6D-7732-4B6A-8E9B-C4360D9AEF42}" destId="{E5FCE09C-DB2F-4A76-BEA9-6313BE707431}" srcOrd="2" destOrd="0" parTransId="{46B5F4A0-CC8B-46BE-A24E-96ADEF92CE74}" sibTransId="{A8A6D279-8A68-4BF2-B012-2D3E80914403}"/>
    <dgm:cxn modelId="{CE658A8F-82C4-45D5-A725-FE1904B3C7FA}" srcId="{CD6C6B6D-7732-4B6A-8E9B-C4360D9AEF42}" destId="{7D6BF7E2-A79A-4633-B2DC-5CCF0CB170B8}" srcOrd="0" destOrd="0" parTransId="{8EB0E6B9-81BE-460C-A5D8-2A8C4DF72939}" sibTransId="{0002B51D-8ED8-4A4E-9F26-0429C69D4B6C}"/>
    <dgm:cxn modelId="{285739B5-B035-440C-A37D-4A5F3B204B52}" srcId="{CD6C6B6D-7732-4B6A-8E9B-C4360D9AEF42}" destId="{BD104264-5F69-4B01-891F-E297546FEADC}" srcOrd="1" destOrd="0" parTransId="{7CF56A14-FAAA-4368-9C54-4F5D30122415}" sibTransId="{F141410D-7A29-472A-85D8-B9C3628607EE}"/>
    <dgm:cxn modelId="{E3C19CB5-F824-4C21-9F4B-20115558B1B5}" type="presOf" srcId="{63F6BA2B-E95F-4BA3-8021-7F1BDE2F7BC4}" destId="{23DC8D0B-10E9-4C3B-BB0A-96842A83A360}" srcOrd="0" destOrd="0" presId="urn:microsoft.com/office/officeart/2005/8/layout/cycle5"/>
    <dgm:cxn modelId="{323F1FB8-76EE-40BD-83D7-FC34DDA278D9}" type="presOf" srcId="{A8A6D279-8A68-4BF2-B012-2D3E80914403}" destId="{93E5AEBD-EDEA-4834-860D-9010ECAAA268}" srcOrd="0" destOrd="0" presId="urn:microsoft.com/office/officeart/2005/8/layout/cycle5"/>
    <dgm:cxn modelId="{820FBDD9-9263-4C97-A320-5DA7CE41E5E3}" type="presOf" srcId="{CD6C6B6D-7732-4B6A-8E9B-C4360D9AEF42}" destId="{27AEEA29-E1C1-4A41-848A-576D2F9F88CF}" srcOrd="0" destOrd="0" presId="urn:microsoft.com/office/officeart/2005/8/layout/cycle5"/>
    <dgm:cxn modelId="{FB3C9FDB-5799-4439-B2AF-9FA45BF8DE1D}" type="presOf" srcId="{6219C6B5-BF39-425C-A958-9842B0B07037}" destId="{A3FC429A-6D1C-4E1C-824C-2BAEDC02579D}" srcOrd="0" destOrd="0" presId="urn:microsoft.com/office/officeart/2005/8/layout/cycle5"/>
    <dgm:cxn modelId="{9A6912DC-EBC3-452D-A377-67D61F87B536}" srcId="{CD6C6B6D-7732-4B6A-8E9B-C4360D9AEF42}" destId="{45D7FDB2-D61E-4F46-BB9E-45CC55CA2DDF}" srcOrd="5" destOrd="0" parTransId="{41D7B944-2DC3-4FC8-9263-40789AF46E70}" sibTransId="{BF227B86-36D6-4CE8-973F-9AC5A3287417}"/>
    <dgm:cxn modelId="{CC2566E3-4935-45F1-A3D7-9A34AD799C2D}" srcId="{CD6C6B6D-7732-4B6A-8E9B-C4360D9AEF42}" destId="{5D50D5CC-74CC-4F5F-8AF2-96E9CA13736A}" srcOrd="3" destOrd="0" parTransId="{6D048045-6AB1-469B-8224-A73143A6EE95}" sibTransId="{63F6BA2B-E95F-4BA3-8021-7F1BDE2F7BC4}"/>
    <dgm:cxn modelId="{916C4285-F1C9-4100-AAAF-0415453CEE10}" type="presParOf" srcId="{27AEEA29-E1C1-4A41-848A-576D2F9F88CF}" destId="{CACE4AA0-7DA3-4CDE-B941-93642A68A8DD}" srcOrd="0" destOrd="0" presId="urn:microsoft.com/office/officeart/2005/8/layout/cycle5"/>
    <dgm:cxn modelId="{F0A8E664-5D3A-4CF8-BE87-02452281A6E3}" type="presParOf" srcId="{27AEEA29-E1C1-4A41-848A-576D2F9F88CF}" destId="{52590A0C-7309-4C71-A82F-79EDAF5A753E}" srcOrd="1" destOrd="0" presId="urn:microsoft.com/office/officeart/2005/8/layout/cycle5"/>
    <dgm:cxn modelId="{A2CF1F8B-78A9-43A2-AC2B-8D704E2E9BD5}" type="presParOf" srcId="{27AEEA29-E1C1-4A41-848A-576D2F9F88CF}" destId="{EA4760D3-034E-453E-BBCB-C4F48CB123B1}" srcOrd="2" destOrd="0" presId="urn:microsoft.com/office/officeart/2005/8/layout/cycle5"/>
    <dgm:cxn modelId="{6FB044D2-B9ED-4C99-85D7-419DFE17FDCC}" type="presParOf" srcId="{27AEEA29-E1C1-4A41-848A-576D2F9F88CF}" destId="{58454987-0FF1-4159-AB59-B5594281B1DE}" srcOrd="3" destOrd="0" presId="urn:microsoft.com/office/officeart/2005/8/layout/cycle5"/>
    <dgm:cxn modelId="{7E8D292C-28E8-4625-AB4D-CE9B39F35871}" type="presParOf" srcId="{27AEEA29-E1C1-4A41-848A-576D2F9F88CF}" destId="{E7D1A2FC-51AF-4D37-A5BC-1243615017EF}" srcOrd="4" destOrd="0" presId="urn:microsoft.com/office/officeart/2005/8/layout/cycle5"/>
    <dgm:cxn modelId="{788E02F9-5FB6-4AA9-9F91-098520517C6C}" type="presParOf" srcId="{27AEEA29-E1C1-4A41-848A-576D2F9F88CF}" destId="{202C8FE3-7776-465E-AA76-67E24981176B}" srcOrd="5" destOrd="0" presId="urn:microsoft.com/office/officeart/2005/8/layout/cycle5"/>
    <dgm:cxn modelId="{1804A0B7-2370-4329-A982-3A7954E5301A}" type="presParOf" srcId="{27AEEA29-E1C1-4A41-848A-576D2F9F88CF}" destId="{4DEF98C9-8A66-4034-A21F-42EF3249B94F}" srcOrd="6" destOrd="0" presId="urn:microsoft.com/office/officeart/2005/8/layout/cycle5"/>
    <dgm:cxn modelId="{24A9E81D-F925-4A8C-856D-0162E12CBF29}" type="presParOf" srcId="{27AEEA29-E1C1-4A41-848A-576D2F9F88CF}" destId="{D926AE9A-F155-4F6F-AA5E-B48ED674CC9D}" srcOrd="7" destOrd="0" presId="urn:microsoft.com/office/officeart/2005/8/layout/cycle5"/>
    <dgm:cxn modelId="{342CDDAF-5F8F-4645-A2D4-83B107B46B37}" type="presParOf" srcId="{27AEEA29-E1C1-4A41-848A-576D2F9F88CF}" destId="{93E5AEBD-EDEA-4834-860D-9010ECAAA268}" srcOrd="8" destOrd="0" presId="urn:microsoft.com/office/officeart/2005/8/layout/cycle5"/>
    <dgm:cxn modelId="{4A6572F1-1C3A-4C70-BDB1-F69304C634AF}" type="presParOf" srcId="{27AEEA29-E1C1-4A41-848A-576D2F9F88CF}" destId="{28B7D9A8-1B15-46BC-B7D9-7E4512E2EC44}" srcOrd="9" destOrd="0" presId="urn:microsoft.com/office/officeart/2005/8/layout/cycle5"/>
    <dgm:cxn modelId="{F9C7E841-16AE-4131-ABE4-5935255273AA}" type="presParOf" srcId="{27AEEA29-E1C1-4A41-848A-576D2F9F88CF}" destId="{69021387-EFC5-4FA3-93AC-EC7FEB39A995}" srcOrd="10" destOrd="0" presId="urn:microsoft.com/office/officeart/2005/8/layout/cycle5"/>
    <dgm:cxn modelId="{D70DC83A-0CA9-492D-BFCE-37992077EAF5}" type="presParOf" srcId="{27AEEA29-E1C1-4A41-848A-576D2F9F88CF}" destId="{23DC8D0B-10E9-4C3B-BB0A-96842A83A360}" srcOrd="11" destOrd="0" presId="urn:microsoft.com/office/officeart/2005/8/layout/cycle5"/>
    <dgm:cxn modelId="{CC63E03C-A705-4B3B-945C-2B2EB10F2FA3}" type="presParOf" srcId="{27AEEA29-E1C1-4A41-848A-576D2F9F88CF}" destId="{6FC97492-5A01-4D8C-AD82-487E32BE526C}" srcOrd="12" destOrd="0" presId="urn:microsoft.com/office/officeart/2005/8/layout/cycle5"/>
    <dgm:cxn modelId="{5B9C001E-7406-435B-8044-9FF65180993D}" type="presParOf" srcId="{27AEEA29-E1C1-4A41-848A-576D2F9F88CF}" destId="{2B7C2543-B062-43AF-A56E-0C68C3A93333}" srcOrd="13" destOrd="0" presId="urn:microsoft.com/office/officeart/2005/8/layout/cycle5"/>
    <dgm:cxn modelId="{687256C7-E332-40B3-BC51-B2F45B282FFE}" type="presParOf" srcId="{27AEEA29-E1C1-4A41-848A-576D2F9F88CF}" destId="{A3FC429A-6D1C-4E1C-824C-2BAEDC02579D}" srcOrd="14" destOrd="0" presId="urn:microsoft.com/office/officeart/2005/8/layout/cycle5"/>
    <dgm:cxn modelId="{1E60A390-8AE5-4584-8FCB-A05BD90BC8B8}" type="presParOf" srcId="{27AEEA29-E1C1-4A41-848A-576D2F9F88CF}" destId="{0DB1D030-A6EB-4C1B-9C95-D46753ECCFFD}" srcOrd="15" destOrd="0" presId="urn:microsoft.com/office/officeart/2005/8/layout/cycle5"/>
    <dgm:cxn modelId="{DF50EEE7-E499-4878-BA69-522AEF499200}" type="presParOf" srcId="{27AEEA29-E1C1-4A41-848A-576D2F9F88CF}" destId="{C7D994BF-503A-461B-91A2-B856D0378A11}" srcOrd="16" destOrd="0" presId="urn:microsoft.com/office/officeart/2005/8/layout/cycle5"/>
    <dgm:cxn modelId="{9BF63EAD-3DD8-46D9-8C40-01FA8E537D28}" type="presParOf" srcId="{27AEEA29-E1C1-4A41-848A-576D2F9F88CF}" destId="{13775397-C30B-4CA1-91BD-6FC76DB8F3AB}" srcOrd="17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CE4AA0-7DA3-4CDE-B941-93642A68A8DD}">
      <dsp:nvSpPr>
        <dsp:cNvPr id="0" name=""/>
        <dsp:cNvSpPr/>
      </dsp:nvSpPr>
      <dsp:spPr>
        <a:xfrm>
          <a:off x="2277007" y="170"/>
          <a:ext cx="1424588" cy="92598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noProof="0" dirty="0"/>
            <a:t>Home </a:t>
          </a:r>
          <a:r>
            <a:rPr lang="de-DE" sz="2000" kern="1200" noProof="0" dirty="0" err="1"/>
            <a:t>Address</a:t>
          </a:r>
          <a:endParaRPr lang="de-DE" sz="2000" kern="1200" noProof="0" dirty="0"/>
        </a:p>
      </dsp:txBody>
      <dsp:txXfrm>
        <a:off x="2322210" y="45373"/>
        <a:ext cx="1334182" cy="835576"/>
      </dsp:txXfrm>
    </dsp:sp>
    <dsp:sp modelId="{EA4760D3-034E-453E-BBCB-C4F48CB123B1}">
      <dsp:nvSpPr>
        <dsp:cNvPr id="0" name=""/>
        <dsp:cNvSpPr/>
      </dsp:nvSpPr>
      <dsp:spPr>
        <a:xfrm>
          <a:off x="1459596" y="463162"/>
          <a:ext cx="3059410" cy="3059410"/>
        </a:xfrm>
        <a:custGeom>
          <a:avLst/>
          <a:gdLst/>
          <a:ahLst/>
          <a:cxnLst/>
          <a:rect l="0" t="0" r="0" b="0"/>
          <a:pathLst>
            <a:path>
              <a:moveTo>
                <a:pt x="2438618" y="299309"/>
              </a:moveTo>
              <a:arcTo wR="1529705" hR="1529705" stAng="18387233" swAng="1633569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454987-0FF1-4159-AB59-B5594281B1DE}">
      <dsp:nvSpPr>
        <dsp:cNvPr id="0" name=""/>
        <dsp:cNvSpPr/>
      </dsp:nvSpPr>
      <dsp:spPr>
        <a:xfrm>
          <a:off x="3806712" y="1529876"/>
          <a:ext cx="1424588" cy="92598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noProof="0" dirty="0"/>
            <a:t>Depot</a:t>
          </a:r>
          <a:endParaRPr lang="de-DE" sz="2200" kern="1200" noProof="0" dirty="0"/>
        </a:p>
      </dsp:txBody>
      <dsp:txXfrm>
        <a:off x="3851915" y="1575079"/>
        <a:ext cx="1334182" cy="835576"/>
      </dsp:txXfrm>
    </dsp:sp>
    <dsp:sp modelId="{202C8FE3-7776-465E-AA76-67E24981176B}">
      <dsp:nvSpPr>
        <dsp:cNvPr id="0" name=""/>
        <dsp:cNvSpPr/>
      </dsp:nvSpPr>
      <dsp:spPr>
        <a:xfrm>
          <a:off x="1459596" y="463162"/>
          <a:ext cx="3059410" cy="3059410"/>
        </a:xfrm>
        <a:custGeom>
          <a:avLst/>
          <a:gdLst/>
          <a:ahLst/>
          <a:cxnLst/>
          <a:rect l="0" t="0" r="0" b="0"/>
          <a:pathLst>
            <a:path>
              <a:moveTo>
                <a:pt x="2900828" y="2207951"/>
              </a:moveTo>
              <a:arcTo wR="1529705" hR="1529705" stAng="1579199" swAng="1633569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B7D9A8-1B15-46BC-B7D9-7E4512E2EC44}">
      <dsp:nvSpPr>
        <dsp:cNvPr id="0" name=""/>
        <dsp:cNvSpPr/>
      </dsp:nvSpPr>
      <dsp:spPr>
        <a:xfrm>
          <a:off x="2277007" y="3059581"/>
          <a:ext cx="1424588" cy="92598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noProof="0" dirty="0" err="1"/>
            <a:t>Deliveries</a:t>
          </a:r>
          <a:endParaRPr lang="de-DE" sz="2000" kern="1200" noProof="0" dirty="0"/>
        </a:p>
      </dsp:txBody>
      <dsp:txXfrm>
        <a:off x="2322210" y="3104784"/>
        <a:ext cx="1334182" cy="835576"/>
      </dsp:txXfrm>
    </dsp:sp>
    <dsp:sp modelId="{23DC8D0B-10E9-4C3B-BB0A-96842A83A360}">
      <dsp:nvSpPr>
        <dsp:cNvPr id="0" name=""/>
        <dsp:cNvSpPr/>
      </dsp:nvSpPr>
      <dsp:spPr>
        <a:xfrm>
          <a:off x="1459596" y="463162"/>
          <a:ext cx="3059410" cy="3059410"/>
        </a:xfrm>
        <a:custGeom>
          <a:avLst/>
          <a:gdLst/>
          <a:ahLst/>
          <a:cxnLst/>
          <a:rect l="0" t="0" r="0" b="0"/>
          <a:pathLst>
            <a:path>
              <a:moveTo>
                <a:pt x="620791" y="2760101"/>
              </a:moveTo>
              <a:arcTo wR="1529705" hR="1529705" stAng="7587233" swAng="1633569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C97492-5A01-4D8C-AD82-487E32BE526C}">
      <dsp:nvSpPr>
        <dsp:cNvPr id="0" name=""/>
        <dsp:cNvSpPr/>
      </dsp:nvSpPr>
      <dsp:spPr>
        <a:xfrm>
          <a:off x="747301" y="1529876"/>
          <a:ext cx="1424588" cy="92598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noProof="0" dirty="0"/>
            <a:t>Depot (Returns)</a:t>
          </a:r>
        </a:p>
      </dsp:txBody>
      <dsp:txXfrm>
        <a:off x="792504" y="1575079"/>
        <a:ext cx="1334182" cy="835576"/>
      </dsp:txXfrm>
    </dsp:sp>
    <dsp:sp modelId="{A3FC429A-6D1C-4E1C-824C-2BAEDC02579D}">
      <dsp:nvSpPr>
        <dsp:cNvPr id="0" name=""/>
        <dsp:cNvSpPr/>
      </dsp:nvSpPr>
      <dsp:spPr>
        <a:xfrm>
          <a:off x="1459596" y="463162"/>
          <a:ext cx="3059410" cy="3059410"/>
        </a:xfrm>
        <a:custGeom>
          <a:avLst/>
          <a:gdLst/>
          <a:ahLst/>
          <a:cxnLst/>
          <a:rect l="0" t="0" r="0" b="0"/>
          <a:pathLst>
            <a:path>
              <a:moveTo>
                <a:pt x="158581" y="851458"/>
              </a:moveTo>
              <a:arcTo wR="1529705" hR="1529705" stAng="12379199" swAng="1633569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CE4AA0-7DA3-4CDE-B941-93642A68A8DD}">
      <dsp:nvSpPr>
        <dsp:cNvPr id="0" name=""/>
        <dsp:cNvSpPr/>
      </dsp:nvSpPr>
      <dsp:spPr>
        <a:xfrm>
          <a:off x="2798344" y="2723"/>
          <a:ext cx="1116060" cy="7254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noProof="0" dirty="0"/>
            <a:t>Home </a:t>
          </a:r>
          <a:r>
            <a:rPr lang="de-DE" sz="1300" kern="1200" noProof="0" dirty="0" err="1"/>
            <a:t>Address</a:t>
          </a:r>
          <a:endParaRPr lang="de-DE" sz="1300" kern="1200" noProof="0" dirty="0"/>
        </a:p>
      </dsp:txBody>
      <dsp:txXfrm>
        <a:off x="2833757" y="38136"/>
        <a:ext cx="1045234" cy="654613"/>
      </dsp:txXfrm>
    </dsp:sp>
    <dsp:sp modelId="{EA4760D3-034E-453E-BBCB-C4F48CB123B1}">
      <dsp:nvSpPr>
        <dsp:cNvPr id="0" name=""/>
        <dsp:cNvSpPr/>
      </dsp:nvSpPr>
      <dsp:spPr>
        <a:xfrm>
          <a:off x="1648780" y="365443"/>
          <a:ext cx="3415189" cy="3415189"/>
        </a:xfrm>
        <a:custGeom>
          <a:avLst/>
          <a:gdLst/>
          <a:ahLst/>
          <a:cxnLst/>
          <a:rect l="0" t="0" r="0" b="0"/>
          <a:pathLst>
            <a:path>
              <a:moveTo>
                <a:pt x="2405703" y="149222"/>
              </a:moveTo>
              <a:arcTo wR="1707594" hR="1707594" stAng="17647865" swAng="922818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454987-0FF1-4159-AB59-B5594281B1DE}">
      <dsp:nvSpPr>
        <dsp:cNvPr id="0" name=""/>
        <dsp:cNvSpPr/>
      </dsp:nvSpPr>
      <dsp:spPr>
        <a:xfrm>
          <a:off x="4277165" y="856521"/>
          <a:ext cx="1116060" cy="7254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noProof="0" dirty="0"/>
            <a:t>Base Camp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noProof="0" dirty="0"/>
            <a:t>(Work Start)</a:t>
          </a:r>
        </a:p>
      </dsp:txBody>
      <dsp:txXfrm>
        <a:off x="4312578" y="891934"/>
        <a:ext cx="1045234" cy="654613"/>
      </dsp:txXfrm>
    </dsp:sp>
    <dsp:sp modelId="{202C8FE3-7776-465E-AA76-67E24981176B}">
      <dsp:nvSpPr>
        <dsp:cNvPr id="0" name=""/>
        <dsp:cNvSpPr/>
      </dsp:nvSpPr>
      <dsp:spPr>
        <a:xfrm>
          <a:off x="1648780" y="365443"/>
          <a:ext cx="3415189" cy="3415189"/>
        </a:xfrm>
        <a:custGeom>
          <a:avLst/>
          <a:gdLst/>
          <a:ahLst/>
          <a:cxnLst/>
          <a:rect l="0" t="0" r="0" b="0"/>
          <a:pathLst>
            <a:path>
              <a:moveTo>
                <a:pt x="3388609" y="1407480"/>
              </a:moveTo>
              <a:arcTo wR="1707594" hR="1707594" stAng="20992653" swAng="1214694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EF98C9-8A66-4034-A21F-42EF3249B94F}">
      <dsp:nvSpPr>
        <dsp:cNvPr id="0" name=""/>
        <dsp:cNvSpPr/>
      </dsp:nvSpPr>
      <dsp:spPr>
        <a:xfrm>
          <a:off x="4277165" y="2564115"/>
          <a:ext cx="1116060" cy="7254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Depot</a:t>
          </a:r>
        </a:p>
      </dsp:txBody>
      <dsp:txXfrm>
        <a:off x="4312578" y="2599528"/>
        <a:ext cx="1045234" cy="654613"/>
      </dsp:txXfrm>
    </dsp:sp>
    <dsp:sp modelId="{93E5AEBD-EDEA-4834-860D-9010ECAAA268}">
      <dsp:nvSpPr>
        <dsp:cNvPr id="0" name=""/>
        <dsp:cNvSpPr/>
      </dsp:nvSpPr>
      <dsp:spPr>
        <a:xfrm>
          <a:off x="1648780" y="365443"/>
          <a:ext cx="3415189" cy="3415189"/>
        </a:xfrm>
        <a:custGeom>
          <a:avLst/>
          <a:gdLst/>
          <a:ahLst/>
          <a:cxnLst/>
          <a:rect l="0" t="0" r="0" b="0"/>
          <a:pathLst>
            <a:path>
              <a:moveTo>
                <a:pt x="2794020" y="3025001"/>
              </a:moveTo>
              <a:arcTo wR="1707594" hR="1707594" stAng="3029317" swAng="922818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B7D9A8-1B15-46BC-B7D9-7E4512E2EC44}">
      <dsp:nvSpPr>
        <dsp:cNvPr id="0" name=""/>
        <dsp:cNvSpPr/>
      </dsp:nvSpPr>
      <dsp:spPr>
        <a:xfrm>
          <a:off x="2798344" y="3417913"/>
          <a:ext cx="1116060" cy="7254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noProof="0" dirty="0" err="1"/>
            <a:t>Deliveries</a:t>
          </a:r>
          <a:endParaRPr lang="de-DE" sz="1300" kern="1200" noProof="0" dirty="0"/>
        </a:p>
      </dsp:txBody>
      <dsp:txXfrm>
        <a:off x="2833757" y="3453326"/>
        <a:ext cx="1045234" cy="654613"/>
      </dsp:txXfrm>
    </dsp:sp>
    <dsp:sp modelId="{23DC8D0B-10E9-4C3B-BB0A-96842A83A360}">
      <dsp:nvSpPr>
        <dsp:cNvPr id="0" name=""/>
        <dsp:cNvSpPr/>
      </dsp:nvSpPr>
      <dsp:spPr>
        <a:xfrm>
          <a:off x="1648780" y="365443"/>
          <a:ext cx="3415189" cy="3415189"/>
        </a:xfrm>
        <a:custGeom>
          <a:avLst/>
          <a:gdLst/>
          <a:ahLst/>
          <a:cxnLst/>
          <a:rect l="0" t="0" r="0" b="0"/>
          <a:pathLst>
            <a:path>
              <a:moveTo>
                <a:pt x="1009486" y="3265967"/>
              </a:moveTo>
              <a:arcTo wR="1707594" hR="1707594" stAng="6847865" swAng="922818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C97492-5A01-4D8C-AD82-487E32BE526C}">
      <dsp:nvSpPr>
        <dsp:cNvPr id="0" name=""/>
        <dsp:cNvSpPr/>
      </dsp:nvSpPr>
      <dsp:spPr>
        <a:xfrm>
          <a:off x="1319524" y="2564115"/>
          <a:ext cx="1116060" cy="7254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noProof="0" dirty="0"/>
            <a:t>Depot (Returns)</a:t>
          </a:r>
        </a:p>
      </dsp:txBody>
      <dsp:txXfrm>
        <a:off x="1354937" y="2599528"/>
        <a:ext cx="1045234" cy="654613"/>
      </dsp:txXfrm>
    </dsp:sp>
    <dsp:sp modelId="{A3FC429A-6D1C-4E1C-824C-2BAEDC02579D}">
      <dsp:nvSpPr>
        <dsp:cNvPr id="0" name=""/>
        <dsp:cNvSpPr/>
      </dsp:nvSpPr>
      <dsp:spPr>
        <a:xfrm>
          <a:off x="1648780" y="365443"/>
          <a:ext cx="3415189" cy="3415189"/>
        </a:xfrm>
        <a:custGeom>
          <a:avLst/>
          <a:gdLst/>
          <a:ahLst/>
          <a:cxnLst/>
          <a:rect l="0" t="0" r="0" b="0"/>
          <a:pathLst>
            <a:path>
              <a:moveTo>
                <a:pt x="26579" y="2007708"/>
              </a:moveTo>
              <a:arcTo wR="1707594" hR="1707594" stAng="10192653" swAng="1214694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B1D030-A6EB-4C1B-9C95-D46753ECCFFD}">
      <dsp:nvSpPr>
        <dsp:cNvPr id="0" name=""/>
        <dsp:cNvSpPr/>
      </dsp:nvSpPr>
      <dsp:spPr>
        <a:xfrm>
          <a:off x="1319524" y="856521"/>
          <a:ext cx="1116060" cy="7254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noProof="0" dirty="0"/>
            <a:t>Base Camp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noProof="0" dirty="0"/>
            <a:t>(Work End)</a:t>
          </a:r>
        </a:p>
      </dsp:txBody>
      <dsp:txXfrm>
        <a:off x="1354937" y="891934"/>
        <a:ext cx="1045234" cy="654613"/>
      </dsp:txXfrm>
    </dsp:sp>
    <dsp:sp modelId="{13775397-C30B-4CA1-91BD-6FC76DB8F3AB}">
      <dsp:nvSpPr>
        <dsp:cNvPr id="0" name=""/>
        <dsp:cNvSpPr/>
      </dsp:nvSpPr>
      <dsp:spPr>
        <a:xfrm>
          <a:off x="1648780" y="365443"/>
          <a:ext cx="3415189" cy="3415189"/>
        </a:xfrm>
        <a:custGeom>
          <a:avLst/>
          <a:gdLst/>
          <a:ahLst/>
          <a:cxnLst/>
          <a:rect l="0" t="0" r="0" b="0"/>
          <a:pathLst>
            <a:path>
              <a:moveTo>
                <a:pt x="621169" y="390188"/>
              </a:moveTo>
              <a:arcTo wR="1707594" hR="1707594" stAng="13829317" swAng="922818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hyperlink" Target="mailto:info@fokus.fraunhofer.de" TargetMode="External"/><Relationship Id="rId3" Type="http://schemas.openxmlformats.org/officeDocument/2006/relationships/slideMaster" Target="../slideMasters/slideMaster1.xml"/><Relationship Id="rId7" Type="http://schemas.openxmlformats.org/officeDocument/2006/relationships/hyperlink" Target="http://www.fokus.fraunhofer.de/" TargetMode="Externa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hyperlink" Target="mailto:info@fokus.fraunhofer.de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fokus.fraunhofer.de/" TargetMode="Externa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hyperlink" Target="mailto:info@fokus.fraunhofer.de" TargetMode="External"/><Relationship Id="rId3" Type="http://schemas.openxmlformats.org/officeDocument/2006/relationships/slideMaster" Target="../slideMasters/slideMaster4.xml"/><Relationship Id="rId7" Type="http://schemas.openxmlformats.org/officeDocument/2006/relationships/hyperlink" Target="http://www.fokus.fraunhofer.de/" TargetMode="External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Relationship Id="rId9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.emf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.emf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.emf"/><Relationship Id="rId2" Type="http://schemas.openxmlformats.org/officeDocument/2006/relationships/tags" Target="../tags/tag5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.emf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.emf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hyperlink" Target="mailto:info@fokus.fraunhofer.de" TargetMode="External"/><Relationship Id="rId3" Type="http://schemas.openxmlformats.org/officeDocument/2006/relationships/slideMaster" Target="../slideMasters/slideMaster5.xml"/><Relationship Id="rId7" Type="http://schemas.openxmlformats.org/officeDocument/2006/relationships/hyperlink" Target="http://www.fokus.fraunhofer.de/" TargetMode="External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Relationship Id="rId9" Type="http://schemas.openxmlformats.org/officeDocument/2006/relationships/image" Target="../media/image2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V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 1">
            <a:extLst>
              <a:ext uri="{FF2B5EF4-FFF2-40B4-BE49-F238E27FC236}">
                <a16:creationId xmlns:a16="http://schemas.microsoft.com/office/drawing/2014/main" id="{5BA8C8D9-011F-3740-836D-BBDF3E8B98E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01"/>
          <a:stretch/>
        </p:blipFill>
        <p:spPr>
          <a:xfrm>
            <a:off x="1" y="-13766"/>
            <a:ext cx="12157173" cy="6885533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84755688-040B-7942-A81E-5B3F1302093B}"/>
              </a:ext>
            </a:extLst>
          </p:cNvPr>
          <p:cNvSpPr/>
          <p:nvPr/>
        </p:nvSpPr>
        <p:spPr bwMode="auto">
          <a:xfrm>
            <a:off x="0" y="1"/>
            <a:ext cx="8384171" cy="6873237"/>
          </a:xfrm>
          <a:prstGeom prst="rect">
            <a:avLst/>
          </a:prstGeom>
          <a:gradFill>
            <a:gsLst>
              <a:gs pos="0">
                <a:schemeClr val="tx1">
                  <a:alpha val="52000"/>
                </a:schemeClr>
              </a:gs>
              <a:gs pos="48000">
                <a:srgbClr val="000000">
                  <a:alpha val="7000"/>
                </a:srgbClr>
              </a:gs>
              <a:gs pos="97000">
                <a:schemeClr val="tx1">
                  <a:alpha val="0"/>
                  <a:lumMod val="83000"/>
                </a:schemeClr>
              </a:gs>
            </a:gsLst>
            <a:lin ang="1200000" scaled="0"/>
          </a:gradFill>
          <a:ln w="22225" cap="flat" cmpd="sng">
            <a:noFill/>
            <a:prstDash val="solid"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799" kern="0">
              <a:solidFill>
                <a:sysClr val="windowText" lastClr="000000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CB6C375-396C-C94B-86BA-109DC14B1408}"/>
              </a:ext>
            </a:extLst>
          </p:cNvPr>
          <p:cNvSpPr txBox="1"/>
          <p:nvPr/>
        </p:nvSpPr>
        <p:spPr>
          <a:xfrm rot="5400000">
            <a:off x="10541914" y="1486156"/>
            <a:ext cx="2644224" cy="3211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1218622">
              <a:lnSpc>
                <a:spcPts val="1903"/>
              </a:lnSpc>
              <a:spcBef>
                <a:spcPts val="381"/>
              </a:spcBef>
              <a:buClr>
                <a:prstClr val="black"/>
              </a:buClr>
            </a:pPr>
            <a:r>
              <a:rPr lang="de-DE" sz="800" dirty="0">
                <a:solidFill>
                  <a:srgbClr val="FFFFFF"/>
                </a:solidFill>
              </a:rPr>
              <a:t>© Philipp </a:t>
            </a:r>
            <a:r>
              <a:rPr lang="de-DE" sz="800" dirty="0" err="1">
                <a:solidFill>
                  <a:srgbClr val="FFFFFF"/>
                </a:solidFill>
              </a:rPr>
              <a:t>Plum</a:t>
            </a:r>
            <a:r>
              <a:rPr lang="de-DE" sz="800" dirty="0">
                <a:solidFill>
                  <a:srgbClr val="FFFFFF"/>
                </a:solidFill>
              </a:rPr>
              <a:t>/ Fraunhofer FOKUS</a:t>
            </a:r>
            <a:endParaRPr lang="de-DE" sz="800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34015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FCD662DA-F467-C548-B5E8-41C7640F62EF}"/>
              </a:ext>
            </a:extLst>
          </p:cNvPr>
          <p:cNvSpPr txBox="1"/>
          <p:nvPr/>
        </p:nvSpPr>
        <p:spPr>
          <a:xfrm>
            <a:off x="408849" y="427425"/>
            <a:ext cx="5578721" cy="55387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799" b="1" dirty="0">
                <a:solidFill>
                  <a:schemeClr val="bg1"/>
                </a:solidFill>
              </a:rPr>
              <a:t>Fraunhofer FOKUS</a:t>
            </a:r>
            <a:br>
              <a:rPr lang="de-DE" sz="1799" b="1" dirty="0">
                <a:solidFill>
                  <a:schemeClr val="bg1"/>
                </a:solidFill>
              </a:rPr>
            </a:br>
            <a:r>
              <a:rPr lang="de-DE" sz="1799" b="1" dirty="0">
                <a:solidFill>
                  <a:schemeClr val="bg1"/>
                </a:solidFill>
              </a:rPr>
              <a:t>Institut für Offene Kommunikationssysteme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DAF4E3D3-C32C-7841-99B7-6B944826B4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8888" y="3702590"/>
            <a:ext cx="5609347" cy="1202232"/>
          </a:xfrm>
          <a:noFill/>
        </p:spPr>
        <p:txBody>
          <a:bodyPr wrap="none" lIns="90000" tIns="46800" rIns="90000" bIns="46800" anchor="b"/>
          <a:lstStyle>
            <a:lvl1pPr algn="l">
              <a:defRPr sz="3599"/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A7A36C0E-0DFA-7940-AF13-42D6BE0AD8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8888" y="4904823"/>
            <a:ext cx="5609347" cy="402198"/>
          </a:xfrm>
          <a:noFill/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19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de-DE" dirty="0"/>
              <a:t>Formatvorlage des Untertitelmasters durch 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9F382B69-62D3-2244-BC25-5C95BC9BFB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8888" y="6128675"/>
            <a:ext cx="3515089" cy="371427"/>
          </a:xfrm>
          <a:noFill/>
        </p:spPr>
        <p:txBody>
          <a:bodyPr wrap="none" lIns="90000" tIns="46800" rIns="90000" bIns="46800">
            <a:spAutoFit/>
          </a:bodyPr>
          <a:lstStyle>
            <a:lvl1pPr>
              <a:defRPr sz="1799" b="1" baseline="0"/>
            </a:lvl1pPr>
          </a:lstStyle>
          <a:p>
            <a:pPr lvl="0"/>
            <a:r>
              <a:rPr lang="de-DE" dirty="0"/>
              <a:t>Referent Name  |  Datum  |  Ort</a:t>
            </a:r>
          </a:p>
        </p:txBody>
      </p:sp>
    </p:spTree>
    <p:extLst>
      <p:ext uri="{BB962C8B-B14F-4D97-AF65-F5344CB8AC3E}">
        <p14:creationId xmlns:p14="http://schemas.microsoft.com/office/powerpoint/2010/main" val="7267840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Inhalt Zwei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08849" y="1233202"/>
            <a:ext cx="11373038" cy="230346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6445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552C727-7F6F-44A3-9913-74F88EEB8F23}" type="slidenum">
              <a:rPr lang="en-US" smtClean="0"/>
              <a:t>‹Nr.›</a:t>
            </a:fld>
            <a:endParaRPr lang="en-US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4" name="Inhaltsplatzhalter 12">
            <a:extLst>
              <a:ext uri="{FF2B5EF4-FFF2-40B4-BE49-F238E27FC236}">
                <a16:creationId xmlns:a16="http://schemas.microsoft.com/office/drawing/2014/main" id="{3DE23BEF-B235-490E-ABDA-2978C3720A2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08849" y="3812607"/>
            <a:ext cx="11373038" cy="230346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34832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Inhalt Vierer-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08848" y="1233202"/>
            <a:ext cx="5542107" cy="230346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12"/>
          <p:cNvSpPr>
            <a:spLocks noGrp="1"/>
          </p:cNvSpPr>
          <p:nvPr>
            <p:ph sz="quarter" idx="15"/>
          </p:nvPr>
        </p:nvSpPr>
        <p:spPr>
          <a:xfrm>
            <a:off x="6240425" y="1233202"/>
            <a:ext cx="5542107" cy="230346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6445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552C727-7F6F-44A3-9913-74F88EEB8F23}" type="slidenum">
              <a:rPr lang="en-US" smtClean="0"/>
              <a:t>‹Nr.›</a:t>
            </a:fld>
            <a:endParaRPr lang="en-US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4" name="Inhaltsplatzhalter 12">
            <a:extLst>
              <a:ext uri="{FF2B5EF4-FFF2-40B4-BE49-F238E27FC236}">
                <a16:creationId xmlns:a16="http://schemas.microsoft.com/office/drawing/2014/main" id="{3DE23BEF-B235-490E-ABDA-2978C3720A2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08848" y="3812607"/>
            <a:ext cx="5542107" cy="230346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Inhaltsplatzhalter 12">
            <a:extLst>
              <a:ext uri="{FF2B5EF4-FFF2-40B4-BE49-F238E27FC236}">
                <a16:creationId xmlns:a16="http://schemas.microsoft.com/office/drawing/2014/main" id="{A20885C7-46B4-42AE-B98C-2EC8D53A3F1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40425" y="3812607"/>
            <a:ext cx="5542107" cy="230346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11529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Inhalt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08848" y="1233202"/>
            <a:ext cx="3599063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12"/>
          <p:cNvSpPr>
            <a:spLocks noGrp="1"/>
          </p:cNvSpPr>
          <p:nvPr>
            <p:ph sz="quarter" idx="15"/>
          </p:nvPr>
        </p:nvSpPr>
        <p:spPr>
          <a:xfrm>
            <a:off x="4296245" y="1233202"/>
            <a:ext cx="3599513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08849" y="6146446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552C727-7F6F-44A3-9913-74F88EEB8F23}" type="slidenum">
              <a:rPr lang="en-US" smtClean="0"/>
              <a:t>‹Nr.›</a:t>
            </a:fld>
            <a:endParaRPr lang="en-US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8"/>
          </p:nvPr>
        </p:nvSpPr>
        <p:spPr>
          <a:xfrm>
            <a:off x="8183688" y="1233202"/>
            <a:ext cx="3599513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1230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Inhalt mit Abb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C485E49-8A5E-3543-8A88-0B189EF91E73}"/>
              </a:ext>
            </a:extLst>
          </p:cNvPr>
          <p:cNvSpPr/>
          <p:nvPr/>
        </p:nvSpPr>
        <p:spPr>
          <a:xfrm>
            <a:off x="0" y="6127920"/>
            <a:ext cx="12192000" cy="7300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9977" tIns="46788" rIns="89977" bIns="46788" rtlCol="0" anchor="t">
            <a:noAutofit/>
          </a:bodyPr>
          <a:lstStyle/>
          <a:p>
            <a:pPr marL="179946" indent="-179946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1999" dirty="0">
              <a:solidFill>
                <a:schemeClr val="tx1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/>
        </p:nvSpPr>
        <p:spPr>
          <a:xfrm>
            <a:off x="0" y="0"/>
            <a:ext cx="12192000" cy="61279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11373039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112" y="581314"/>
            <a:ext cx="11373039" cy="3999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552C727-7F6F-44A3-9913-74F88EEB8F23}" type="slidenum">
              <a:rPr lang="en-US" smtClean="0"/>
              <a:t>‹Nr.›</a:t>
            </a:fld>
            <a:endParaRPr lang="en-US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7D44C40-0B4F-BF45-848A-3630B3646D0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8" name="Bildplatzhalter 3">
            <a:extLst>
              <a:ext uri="{FF2B5EF4-FFF2-40B4-BE49-F238E27FC236}">
                <a16:creationId xmlns:a16="http://schemas.microsoft.com/office/drawing/2014/main" id="{40F30101-8E29-D340-9BDD-84AC9FFFF76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378203" y="6226880"/>
            <a:ext cx="1447423" cy="477726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22" name="Bildplatzhalter 3">
            <a:extLst>
              <a:ext uri="{FF2B5EF4-FFF2-40B4-BE49-F238E27FC236}">
                <a16:creationId xmlns:a16="http://schemas.microsoft.com/office/drawing/2014/main" id="{4FD5773C-B564-F546-8FB0-E09BF58EFD8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00914" y="6226880"/>
            <a:ext cx="1447423" cy="477726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06A5E64C-7628-0148-8F44-FE4E6D654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5480"/>
            <a:ext cx="5542107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accent3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955567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mit Zeichen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045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552C727-7F6F-44A3-9913-74F88EEB8F23}" type="slidenum">
              <a:rPr lang="en-US" smtClean="0"/>
              <a:t>‹Nr.›</a:t>
            </a:fld>
            <a:endParaRPr lang="en-US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9" name="Bildplatzhalter 3">
            <a:extLst>
              <a:ext uri="{FF2B5EF4-FFF2-40B4-BE49-F238E27FC236}">
                <a16:creationId xmlns:a16="http://schemas.microsoft.com/office/drawing/2014/main" id="{FA5E8D5D-5168-4F4A-98A0-B833238A74C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10113" y="1233245"/>
            <a:ext cx="11372419" cy="4894716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925C743-A9EC-46FF-B48D-A7F0891CC0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849" y="6146446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7793886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6219870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6447"/>
            <a:ext cx="5542107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112" y="581314"/>
            <a:ext cx="6219870" cy="3999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552C727-7F6F-44A3-9913-74F88EEB8F23}" type="slidenum">
              <a:rPr lang="en-US" smtClean="0"/>
              <a:t>‹Nr.›</a:t>
            </a:fld>
            <a:endParaRPr lang="en-US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5340" y="0"/>
            <a:ext cx="5146660" cy="6858000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0040530" y="6225292"/>
            <a:ext cx="1742621" cy="479314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9523D3CE-B21C-8347-8E9F-5C49AE3F9F5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8926260" y="3132565"/>
            <a:ext cx="5867630" cy="123079"/>
          </a:xfrm>
        </p:spPr>
        <p:txBody>
          <a:bodyPr wrap="square" anchor="b">
            <a:spAutoFit/>
          </a:bodyPr>
          <a:lstStyle>
            <a:lvl1pPr algn="l">
              <a:defRPr sz="800" b="0"/>
            </a:lvl1pPr>
            <a:lvl2pPr algn="r">
              <a:defRPr sz="1000" b="0"/>
            </a:lvl2pPr>
            <a:lvl3pPr algn="r">
              <a:defRPr sz="1000" b="0"/>
            </a:lvl3pPr>
            <a:lvl4pPr algn="r">
              <a:defRPr sz="1000" b="0"/>
            </a:lvl4pPr>
            <a:lvl5pPr algn="r">
              <a:defRPr sz="1000" b="0"/>
            </a:lvl5pPr>
          </a:lstStyle>
          <a:p>
            <a:pPr lvl="0"/>
            <a:r>
              <a:rPr lang="de-DE" dirty="0"/>
              <a:t>Platzhalter Lizenzhinweis</a:t>
            </a:r>
          </a:p>
        </p:txBody>
      </p:sp>
    </p:spTree>
    <p:extLst>
      <p:ext uri="{BB962C8B-B14F-4D97-AF65-F5344CB8AC3E}">
        <p14:creationId xmlns:p14="http://schemas.microsoft.com/office/powerpoint/2010/main" val="1009159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F672C19F-5254-654F-AAE0-45D22E05A15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586"/>
            <a:ext cx="12190026" cy="6291414"/>
          </a:xfrm>
          <a:prstGeom prst="rect">
            <a:avLst/>
          </a:prstGeom>
        </p:spPr>
      </p:pic>
      <p:sp>
        <p:nvSpPr>
          <p:cNvPr id="2" name="Rechteck 1">
            <a:hlinkClick r:id="rId7"/>
          </p:cNvPr>
          <p:cNvSpPr/>
          <p:nvPr/>
        </p:nvSpPr>
        <p:spPr>
          <a:xfrm>
            <a:off x="709502" y="4544866"/>
            <a:ext cx="2610758" cy="28796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/>
          </a:p>
        </p:txBody>
      </p:sp>
      <p:sp>
        <p:nvSpPr>
          <p:cNvPr id="15" name="Rechteck 14">
            <a:hlinkClick r:id="rId8"/>
          </p:cNvPr>
          <p:cNvSpPr/>
          <p:nvPr/>
        </p:nvSpPr>
        <p:spPr>
          <a:xfrm>
            <a:off x="709503" y="4217916"/>
            <a:ext cx="2610683" cy="28796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D61D79F-3C03-2649-BD66-D31C6B7BAA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9468" y="2845729"/>
            <a:ext cx="4645402" cy="2064859"/>
          </a:xfrm>
          <a:solidFill>
            <a:schemeClr val="accent3"/>
          </a:solidFill>
        </p:spPr>
        <p:txBody>
          <a:bodyPr lIns="108000" tIns="108000"/>
          <a:lstStyle>
            <a:lvl1pPr algn="l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defRPr/>
            </a:lvl1pPr>
          </a:lstStyle>
          <a:p>
            <a:pPr algn="l">
              <a:lnSpc>
                <a:spcPct val="100000"/>
              </a:lnSpc>
              <a:spcBef>
                <a:spcPts val="400"/>
              </a:spcBef>
            </a:pPr>
            <a:r>
              <a:rPr lang="de-DE" altLang="de-DE" sz="1799" b="1" dirty="0">
                <a:solidFill>
                  <a:schemeClr val="bg1"/>
                </a:solidFill>
              </a:rPr>
              <a:t>Fraunhofer-Institut für</a:t>
            </a:r>
            <a:br>
              <a:rPr lang="de-DE" altLang="de-DE" sz="1799" b="1" dirty="0">
                <a:solidFill>
                  <a:schemeClr val="bg1"/>
                </a:solidFill>
              </a:rPr>
            </a:br>
            <a:r>
              <a:rPr lang="de-DE" altLang="de-DE" sz="1799" b="1" dirty="0">
                <a:solidFill>
                  <a:schemeClr val="bg1"/>
                </a:solidFill>
              </a:rPr>
              <a:t>Offene Kommunikationssysteme FOKUS</a:t>
            </a:r>
          </a:p>
          <a:p>
            <a:pPr algn="l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</a:pPr>
            <a:r>
              <a:rPr lang="de-DE" sz="1799" dirty="0">
                <a:solidFill>
                  <a:schemeClr val="bg1"/>
                </a:solidFill>
              </a:rPr>
              <a:t>Kaiserin-Augusta-Allee 31</a:t>
            </a:r>
            <a:br>
              <a:rPr lang="de-DE" sz="1799" dirty="0">
                <a:solidFill>
                  <a:schemeClr val="bg1"/>
                </a:solidFill>
              </a:rPr>
            </a:br>
            <a:r>
              <a:rPr lang="de-DE" sz="1799" dirty="0">
                <a:solidFill>
                  <a:schemeClr val="bg1"/>
                </a:solidFill>
              </a:rPr>
              <a:t>10589 Berlin, Germany</a:t>
            </a:r>
          </a:p>
          <a:p>
            <a:pPr algn="l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</a:pPr>
            <a:r>
              <a:rPr lang="de-DE" sz="1799" u="sng" dirty="0">
                <a:solidFill>
                  <a:schemeClr val="bg1"/>
                </a:solidFill>
              </a:rPr>
              <a:t>info@fokus.fraunhofer.de</a:t>
            </a:r>
          </a:p>
          <a:p>
            <a:pPr algn="l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</a:pPr>
            <a:r>
              <a:rPr lang="de-DE" sz="1799" u="sng" dirty="0">
                <a:solidFill>
                  <a:schemeClr val="bg1"/>
                </a:solidFill>
              </a:rPr>
              <a:t>www.fokus.fraunhofer.de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6778BB26-A879-46BB-AC5F-D63E336C49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00860" y="2846312"/>
            <a:ext cx="2361227" cy="786870"/>
          </a:xfrm>
          <a:solidFill>
            <a:schemeClr val="accent3"/>
          </a:solidFill>
        </p:spPr>
        <p:txBody>
          <a:bodyPr wrap="none" lIns="90000" tIns="90000" rIns="90000" bIns="90000">
            <a:spAutoFit/>
          </a:bodyPr>
          <a:lstStyle>
            <a:lvl1pPr>
              <a:defRPr sz="1799"/>
            </a:lvl1pPr>
            <a:lvl2pPr>
              <a:spcBef>
                <a:spcPts val="400"/>
              </a:spcBef>
              <a:defRPr sz="1799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Name Nachname</a:t>
            </a:r>
          </a:p>
          <a:p>
            <a:pPr lvl="1"/>
            <a:r>
              <a:rPr lang="de-DE" dirty="0"/>
              <a:t>Kontaktinformation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5BFB7F7-2A95-4D21-8E54-D1C0D9EB0D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112" y="578956"/>
            <a:ext cx="11373038" cy="40001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Vielen Dank 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14715046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/>
        </p:nvSpPr>
        <p:spPr>
          <a:xfrm>
            <a:off x="0" y="9851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6219870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6447"/>
            <a:ext cx="5542107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112" y="581314"/>
            <a:ext cx="6219870" cy="3999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552C727-7F6F-44A3-9913-74F88EEB8F23}" type="slidenum">
              <a:rPr lang="en-US" smtClean="0"/>
              <a:t>‹Nr.›</a:t>
            </a:fld>
            <a:endParaRPr lang="en-US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5340" y="9851"/>
            <a:ext cx="5146660" cy="6858000"/>
          </a:xfrm>
          <a:solidFill>
            <a:srgbClr val="6EAB3E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0040530" y="6225292"/>
            <a:ext cx="1742621" cy="479314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3620643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FAD3C3-A229-4B70-8AB8-27C88746B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A27BE1C-D31C-4428-896F-DD6D1F4CA6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1CC2967-8D29-4332-9ACD-EBDA727008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09C85-15EA-4BB2-9119-2DCA555769AA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8D6ECA-F935-4007-87A2-B52AC4EC6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2867B7-9CC1-47B2-950E-71333EB83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2C727-7F6F-44A3-9913-74F88EEB8F2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305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pic>
        <p:nvPicPr>
          <p:cNvPr id="5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586"/>
            <a:ext cx="12190026" cy="6291414"/>
          </a:xfrm>
          <a:prstGeom prst="rect">
            <a:avLst/>
          </a:prstGeom>
        </p:spPr>
      </p:pic>
      <p:sp>
        <p:nvSpPr>
          <p:cNvPr id="7" name="Textfeld 6"/>
          <p:cNvSpPr txBox="1"/>
          <p:nvPr userDrawn="1"/>
        </p:nvSpPr>
        <p:spPr>
          <a:xfrm>
            <a:off x="408849" y="427425"/>
            <a:ext cx="5578721" cy="55387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799" b="1" dirty="0">
                <a:solidFill>
                  <a:schemeClr val="bg1"/>
                </a:solidFill>
              </a:rPr>
              <a:t>Fraunhofer FOKUS</a:t>
            </a:r>
            <a:br>
              <a:rPr lang="de-DE" sz="1799" b="1" dirty="0">
                <a:solidFill>
                  <a:schemeClr val="bg1"/>
                </a:solidFill>
              </a:rPr>
            </a:br>
            <a:r>
              <a:rPr lang="de-DE" sz="1799" b="1" dirty="0">
                <a:solidFill>
                  <a:schemeClr val="bg1"/>
                </a:solidFill>
              </a:rPr>
              <a:t>Institut für Offene Kommunikationssysteme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>
          <a:xfrm>
            <a:off x="318888" y="3333344"/>
            <a:ext cx="7427129" cy="1571478"/>
          </a:xfrm>
          <a:solidFill>
            <a:schemeClr val="accent1"/>
          </a:solidFill>
        </p:spPr>
        <p:txBody>
          <a:bodyPr wrap="none" lIns="90000" tIns="46800" rIns="90000" bIns="46800" anchor="b"/>
          <a:lstStyle>
            <a:lvl1pPr algn="l">
              <a:defRPr sz="4799"/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18888" y="4904822"/>
            <a:ext cx="6103251" cy="832921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 marL="0" indent="0" algn="l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de-DE" dirty="0"/>
              <a:t>Formatvorlage des Untertitelmasters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18889" y="6128675"/>
            <a:ext cx="3378146" cy="371385"/>
          </a:xfrm>
          <a:solidFill>
            <a:schemeClr val="accent1"/>
          </a:solidFill>
        </p:spPr>
        <p:txBody>
          <a:bodyPr wrap="none" lIns="90000" tIns="46800" rIns="90000" bIns="46800">
            <a:spAutoFit/>
          </a:bodyPr>
          <a:lstStyle>
            <a:lvl1pPr>
              <a:defRPr baseline="0"/>
            </a:lvl1pPr>
          </a:lstStyle>
          <a:p>
            <a:pPr lvl="0"/>
            <a:r>
              <a:rPr lang="de-DE" dirty="0"/>
              <a:t>Referent Name  |  Datum  |  Ort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610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062"/>
            <a:ext cx="12192000" cy="6865063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408849" y="427425"/>
            <a:ext cx="5578721" cy="55387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799" b="1" dirty="0">
                <a:solidFill>
                  <a:schemeClr val="bg1"/>
                </a:solidFill>
              </a:rPr>
              <a:t>Fraunhofer FOKUS</a:t>
            </a:r>
            <a:br>
              <a:rPr lang="de-DE" sz="1799" b="1" dirty="0">
                <a:solidFill>
                  <a:schemeClr val="bg1"/>
                </a:solidFill>
              </a:rPr>
            </a:br>
            <a:r>
              <a:rPr lang="de-DE" sz="1799" b="1" dirty="0">
                <a:solidFill>
                  <a:schemeClr val="bg1"/>
                </a:solidFill>
              </a:rPr>
              <a:t>Institut für Offene Kommunikationssysteme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>
          <a:xfrm>
            <a:off x="318888" y="3702590"/>
            <a:ext cx="5609347" cy="1202232"/>
          </a:xfrm>
          <a:solidFill>
            <a:schemeClr val="bg1"/>
          </a:solidFill>
        </p:spPr>
        <p:txBody>
          <a:bodyPr wrap="none" lIns="90000" tIns="46800" rIns="90000" bIns="46800" anchor="b"/>
          <a:lstStyle>
            <a:lvl1pPr algn="l">
              <a:defRPr sz="3599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18888" y="4904823"/>
            <a:ext cx="5609347" cy="402198"/>
          </a:xfrm>
          <a:solidFill>
            <a:schemeClr val="bg1"/>
          </a:solidFill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1999">
                <a:solidFill>
                  <a:schemeClr val="accent3"/>
                </a:solidFill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de-DE" dirty="0"/>
              <a:t>Formatvorlage des Untertitelmasters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18888" y="6128675"/>
            <a:ext cx="3377267" cy="371427"/>
          </a:xfrm>
          <a:solidFill>
            <a:schemeClr val="bg1"/>
          </a:solidFill>
        </p:spPr>
        <p:txBody>
          <a:bodyPr wrap="none" lIns="90000" tIns="46800" rIns="90000" bIns="46800">
            <a:spAutoFit/>
          </a:bodyPr>
          <a:lstStyle>
            <a:lvl1pPr>
              <a:defRPr sz="1799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Referent Name  |  Datum  |  Ort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2186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 2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30" name="Objekt 2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/>
          <p:cNvSpPr/>
          <p:nvPr userDrawn="1"/>
        </p:nvSpPr>
        <p:spPr>
          <a:xfrm>
            <a:off x="0" y="-3402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0112" y="1233264"/>
            <a:ext cx="5541463" cy="4933542"/>
          </a:xfrm>
        </p:spPr>
        <p:txBody>
          <a:bodyPr wrap="square">
            <a:spAutoFit/>
          </a:bodyPr>
          <a:lstStyle>
            <a:lvl1pPr marL="342797" indent="-342797">
              <a:spcBef>
                <a:spcPts val="400"/>
              </a:spcBef>
              <a:buFont typeface="+mj-lt"/>
              <a:buAutoNum type="arabicPeriod"/>
              <a:defRPr sz="1799" b="1"/>
            </a:lvl1pPr>
            <a:lvl2pPr marL="342797" indent="-342797">
              <a:spcBef>
                <a:spcPts val="400"/>
              </a:spcBef>
              <a:buFont typeface="+mj-lt"/>
              <a:buAutoNum type="arabicPeriod"/>
              <a:defRPr sz="1600" baseline="0"/>
            </a:lvl2pPr>
            <a:lvl3pPr>
              <a:defRPr sz="1799"/>
            </a:lvl3pPr>
            <a:lvl4pPr marL="358667" marR="0" indent="0" algn="l" defTabSz="121907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marL="179946" marR="0" lvl="3" indent="0" algn="l" defTabSz="121907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  1.1 Unterpunkt durch Klicken bearbeiten</a:t>
            </a:r>
            <a:br>
              <a:rPr lang="de-DE" dirty="0"/>
            </a:br>
            <a:r>
              <a:rPr lang="de-DE" dirty="0"/>
              <a:t>  1.2 Unterpunkt durch Klicken bearbeiten</a:t>
            </a:r>
          </a:p>
          <a:p>
            <a:pPr lvl="1"/>
            <a:endParaRPr lang="de-DE" dirty="0"/>
          </a:p>
          <a:p>
            <a:pPr lvl="0"/>
            <a:r>
              <a:rPr lang="de-DE" dirty="0"/>
              <a:t>Kapitelthema durch Klicken bearbeiten</a:t>
            </a:r>
          </a:p>
          <a:p>
            <a:pPr marL="179946" marR="0" lvl="3" indent="0" algn="l" defTabSz="121907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  2.1 Unterpunkt durch Klicken bearbeiten</a:t>
            </a:r>
            <a:br>
              <a:rPr lang="de-DE" dirty="0"/>
            </a:br>
            <a:r>
              <a:rPr lang="de-DE" dirty="0"/>
              <a:t>  2.2 Unterpunkt durch Klicken bearbeiten</a:t>
            </a:r>
          </a:p>
          <a:p>
            <a:pPr marL="179946" marR="0" lvl="3" indent="0" algn="l" defTabSz="121907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endParaRPr lang="de-DE" dirty="0"/>
          </a:p>
          <a:p>
            <a:pPr lvl="0"/>
            <a:r>
              <a:rPr lang="de-DE" dirty="0"/>
              <a:t>Kapitelthema durch Klicken bearbeiten</a:t>
            </a:r>
          </a:p>
          <a:p>
            <a:pPr marL="179946" marR="0" lvl="3" indent="0" algn="l" defTabSz="121907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  3.1 Unterpunkt durch Klicken bearbeiten</a:t>
            </a:r>
            <a:br>
              <a:rPr lang="de-DE" dirty="0"/>
            </a:br>
            <a:r>
              <a:rPr lang="de-DE" dirty="0"/>
              <a:t>  3.2 Unterpunkt durch Klicken bearbeiten</a:t>
            </a:r>
          </a:p>
          <a:p>
            <a:pPr marL="179946" marR="0" lvl="3" indent="0" algn="l" defTabSz="121907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endParaRPr lang="de-DE" dirty="0"/>
          </a:p>
          <a:p>
            <a:pPr lvl="0"/>
            <a:r>
              <a:rPr lang="de-DE" dirty="0"/>
              <a:t>Kapitelthema durch Klicken bearbeiten</a:t>
            </a:r>
          </a:p>
          <a:p>
            <a:pPr marL="179946" marR="0" lvl="3" indent="0" algn="l" defTabSz="121907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  4.1 Unterpunkt durch Klicken bearbeiten</a:t>
            </a:r>
            <a:br>
              <a:rPr lang="de-DE" dirty="0"/>
            </a:br>
            <a:r>
              <a:rPr lang="de-DE" dirty="0"/>
              <a:t>  4.2 Unterpunkt durch Klicken bearbeiten</a:t>
            </a:r>
          </a:p>
          <a:p>
            <a:pPr lvl="1"/>
            <a:endParaRPr lang="de-DE" dirty="0"/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9" name="Fußzeilenplatzhalter 19">
            <a:extLst>
              <a:ext uri="{FF2B5EF4-FFF2-40B4-BE49-F238E27FC236}">
                <a16:creationId xmlns:a16="http://schemas.microsoft.com/office/drawing/2014/main" id="{5BDDA516-7A7C-6443-A0C6-34B8F6FDB16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24790" y="6550753"/>
            <a:ext cx="6298360" cy="153852"/>
          </a:xfrm>
        </p:spPr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10" name="Foliennummernplatzhalter 20">
            <a:extLst>
              <a:ext uri="{FF2B5EF4-FFF2-40B4-BE49-F238E27FC236}">
                <a16:creationId xmlns:a16="http://schemas.microsoft.com/office/drawing/2014/main" id="{BAACA49B-C17C-754A-9A60-8C561C85E8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1946" y="6550753"/>
            <a:ext cx="258016" cy="153852"/>
          </a:xfrm>
        </p:spPr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03438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11373038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5479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9367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08848" y="1233202"/>
            <a:ext cx="5542107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12"/>
          <p:cNvSpPr>
            <a:spLocks noGrp="1"/>
          </p:cNvSpPr>
          <p:nvPr>
            <p:ph sz="quarter" idx="15"/>
          </p:nvPr>
        </p:nvSpPr>
        <p:spPr>
          <a:xfrm>
            <a:off x="6240425" y="1233202"/>
            <a:ext cx="5542107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6445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271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 mit Abb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C485E49-8A5E-3543-8A88-0B189EF91E73}"/>
              </a:ext>
            </a:extLst>
          </p:cNvPr>
          <p:cNvSpPr/>
          <p:nvPr userDrawn="1"/>
        </p:nvSpPr>
        <p:spPr>
          <a:xfrm>
            <a:off x="0" y="6127920"/>
            <a:ext cx="12192000" cy="7300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9977" tIns="46788" rIns="89977" bIns="46788" rtlCol="0" anchor="t">
            <a:noAutofit/>
          </a:bodyPr>
          <a:lstStyle/>
          <a:p>
            <a:pPr marL="179946" indent="-179946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1999" dirty="0">
              <a:solidFill>
                <a:schemeClr val="tx1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127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11373039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112" y="583065"/>
            <a:ext cx="11373039" cy="3995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7D44C40-0B4F-BF45-848A-3630B3646D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8" name="Bildplatzhalter 3">
            <a:extLst>
              <a:ext uri="{FF2B5EF4-FFF2-40B4-BE49-F238E27FC236}">
                <a16:creationId xmlns:a16="http://schemas.microsoft.com/office/drawing/2014/main" id="{40F30101-8E29-D340-9BDD-84AC9FFFF76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378203" y="6226880"/>
            <a:ext cx="1447423" cy="477726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22" name="Bildplatzhalter 3">
            <a:extLst>
              <a:ext uri="{FF2B5EF4-FFF2-40B4-BE49-F238E27FC236}">
                <a16:creationId xmlns:a16="http://schemas.microsoft.com/office/drawing/2014/main" id="{4FD5773C-B564-F546-8FB0-E09BF58EFD8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00914" y="6226880"/>
            <a:ext cx="1447423" cy="477726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A11A28AA-DEFD-B440-B7A4-8F1A4C36C8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37153"/>
            <a:ext cx="5542107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52640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6219870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6447"/>
            <a:ext cx="5542107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112" y="581314"/>
            <a:ext cx="6219870" cy="3999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5340" y="0"/>
            <a:ext cx="5146660" cy="6858000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0040530" y="6225292"/>
            <a:ext cx="1742621" cy="479314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ECB6D7A0-3CBB-FC46-B35F-450C681055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8926260" y="3132565"/>
            <a:ext cx="5867630" cy="123079"/>
          </a:xfrm>
        </p:spPr>
        <p:txBody>
          <a:bodyPr wrap="square" anchor="b">
            <a:spAutoFit/>
          </a:bodyPr>
          <a:lstStyle>
            <a:lvl1pPr algn="l">
              <a:defRPr sz="800" b="0"/>
            </a:lvl1pPr>
            <a:lvl2pPr algn="r">
              <a:defRPr sz="1000" b="0"/>
            </a:lvl2pPr>
            <a:lvl3pPr algn="r">
              <a:defRPr sz="1000" b="0"/>
            </a:lvl3pPr>
            <a:lvl4pPr algn="r">
              <a:defRPr sz="1000" b="0"/>
            </a:lvl4pPr>
            <a:lvl5pPr algn="r">
              <a:defRPr sz="1000" b="0"/>
            </a:lvl5pPr>
          </a:lstStyle>
          <a:p>
            <a:pPr lvl="0"/>
            <a:r>
              <a:rPr lang="de-DE" dirty="0"/>
              <a:t>Platzhalter Lizenzhinweis</a:t>
            </a:r>
          </a:p>
        </p:txBody>
      </p:sp>
    </p:spTree>
    <p:extLst>
      <p:ext uri="{BB962C8B-B14F-4D97-AF65-F5344CB8AC3E}">
        <p14:creationId xmlns:p14="http://schemas.microsoft.com/office/powerpoint/2010/main" val="8748357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Inhalt und Bild mit Abb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C485E49-8A5E-3543-8A88-0B189EF91E73}"/>
              </a:ext>
            </a:extLst>
          </p:cNvPr>
          <p:cNvSpPr/>
          <p:nvPr userDrawn="1"/>
        </p:nvSpPr>
        <p:spPr>
          <a:xfrm>
            <a:off x="0" y="6127920"/>
            <a:ext cx="12192000" cy="7300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9977" tIns="46788" rIns="89977" bIns="46788" rtlCol="0" anchor="t">
            <a:noAutofit/>
          </a:bodyPr>
          <a:lstStyle/>
          <a:p>
            <a:pPr marL="179946" indent="-179946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1999" dirty="0">
              <a:solidFill>
                <a:schemeClr val="tx1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127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6219870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37153"/>
            <a:ext cx="5542107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112" y="581314"/>
            <a:ext cx="6219870" cy="3999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5340" y="0"/>
            <a:ext cx="5146660" cy="6127919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7D44C40-0B4F-BF45-848A-3630B3646D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8" name="Bildplatzhalter 3">
            <a:extLst>
              <a:ext uri="{FF2B5EF4-FFF2-40B4-BE49-F238E27FC236}">
                <a16:creationId xmlns:a16="http://schemas.microsoft.com/office/drawing/2014/main" id="{40F30101-8E29-D340-9BDD-84AC9FFFF76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378203" y="6226880"/>
            <a:ext cx="1447423" cy="477726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22" name="Bildplatzhalter 3">
            <a:extLst>
              <a:ext uri="{FF2B5EF4-FFF2-40B4-BE49-F238E27FC236}">
                <a16:creationId xmlns:a16="http://schemas.microsoft.com/office/drawing/2014/main" id="{4FD5773C-B564-F546-8FB0-E09BF58EFD8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00914" y="6226880"/>
            <a:ext cx="1447423" cy="477726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5AA03409-0D94-0C4F-85C5-20DCDED663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8926260" y="3132565"/>
            <a:ext cx="5867630" cy="123079"/>
          </a:xfrm>
        </p:spPr>
        <p:txBody>
          <a:bodyPr wrap="square" anchor="b">
            <a:spAutoFit/>
          </a:bodyPr>
          <a:lstStyle>
            <a:lvl1pPr algn="l">
              <a:defRPr sz="800" b="0"/>
            </a:lvl1pPr>
            <a:lvl2pPr algn="r">
              <a:defRPr sz="1000" b="0"/>
            </a:lvl2pPr>
            <a:lvl3pPr algn="r">
              <a:defRPr sz="1000" b="0"/>
            </a:lvl3pPr>
            <a:lvl4pPr algn="r">
              <a:defRPr sz="1000" b="0"/>
            </a:lvl4pPr>
            <a:lvl5pPr algn="r">
              <a:defRPr sz="1000" b="0"/>
            </a:lvl5pPr>
          </a:lstStyle>
          <a:p>
            <a:pPr lvl="0"/>
            <a:r>
              <a:rPr lang="de-DE" dirty="0"/>
              <a:t>Platzhalter Lizenzhinweis</a:t>
            </a:r>
          </a:p>
        </p:txBody>
      </p:sp>
    </p:spTree>
    <p:extLst>
      <p:ext uri="{BB962C8B-B14F-4D97-AF65-F5344CB8AC3E}">
        <p14:creationId xmlns:p14="http://schemas.microsoft.com/office/powerpoint/2010/main" val="27930558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zit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900959" y="3136678"/>
            <a:ext cx="6390083" cy="584647"/>
          </a:xfrm>
        </p:spPr>
        <p:txBody>
          <a:bodyPr wrap="none" anchor="ctr">
            <a:spAutoFit/>
          </a:bodyPr>
          <a:lstStyle>
            <a:lvl1pPr algn="ctr">
              <a:defRPr sz="3799" baseline="0"/>
            </a:lvl1pPr>
            <a:lvl2pPr algn="ctr">
              <a:defRPr sz="3799"/>
            </a:lvl2pPr>
            <a:lvl3pPr algn="ctr">
              <a:defRPr sz="3799"/>
            </a:lvl3pPr>
            <a:lvl4pPr algn="ctr">
              <a:defRPr sz="3799"/>
            </a:lvl4pPr>
            <a:lvl5pPr algn="ctr">
              <a:defRPr sz="3799"/>
            </a:lvl5pPr>
          </a:lstStyle>
          <a:p>
            <a:pPr lvl="0"/>
            <a:r>
              <a:rPr lang="de-DE" dirty="0"/>
              <a:t>Text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C6515B06-E663-3F4F-8D80-AE5ECC29E6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24790" y="6550753"/>
            <a:ext cx="6298360" cy="153852"/>
          </a:xfrm>
        </p:spPr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11" name="Foliennummernplatzhalter 6">
            <a:extLst>
              <a:ext uri="{FF2B5EF4-FFF2-40B4-BE49-F238E27FC236}">
                <a16:creationId xmlns:a16="http://schemas.microsoft.com/office/drawing/2014/main" id="{7CF40213-D398-C74D-9D65-38CC9C7A647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291946" y="6550753"/>
            <a:ext cx="258016" cy="153852"/>
          </a:xfrm>
        </p:spPr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12574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pic>
        <p:nvPicPr>
          <p:cNvPr id="9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586"/>
            <a:ext cx="12190026" cy="6291414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1" name="Inhaltsplatzhalter 3"/>
          <p:cNvSpPr txBox="1">
            <a:spLocks/>
          </p:cNvSpPr>
          <p:nvPr userDrawn="1"/>
        </p:nvSpPr>
        <p:spPr>
          <a:xfrm>
            <a:off x="647831" y="2846312"/>
            <a:ext cx="4643309" cy="20648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89977" tIns="89977" rIns="89977" bIns="89977" rtlCol="0" anchor="ctr">
            <a:noAutofit/>
          </a:bodyPr>
          <a:lstStyle>
            <a:lvl1pPr marL="0" indent="0" algn="l" defTabSz="914126" rtl="0" eaLnBrk="1" latinLnBrk="0" hangingPunct="1">
              <a:lnSpc>
                <a:spcPts val="2020"/>
              </a:lnSpc>
              <a:spcBef>
                <a:spcPct val="20000"/>
              </a:spcBef>
              <a:buClrTx/>
              <a:buFont typeface="Symbol" charset="2"/>
              <a:buNone/>
              <a:tabLst/>
              <a:defRPr lang="de-DE"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57326" indent="-257326" algn="l" defTabSz="914126" rtl="0" eaLnBrk="1" latinLnBrk="0" hangingPunct="1">
              <a:spcBef>
                <a:spcPct val="20000"/>
              </a:spcBef>
              <a:buClrTx/>
              <a:buFont typeface="Symbol" charset="2"/>
              <a:buChar char="-"/>
              <a:tabLst/>
              <a:defRPr lang="de-DE"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716428" indent="-240321" algn="l" defTabSz="914126" rtl="0" eaLnBrk="1" latinLnBrk="0" hangingPunct="1">
              <a:lnSpc>
                <a:spcPts val="2020"/>
              </a:lnSpc>
              <a:spcBef>
                <a:spcPct val="20000"/>
              </a:spcBef>
              <a:buClrTx/>
              <a:buFont typeface="Symbol" charset="2"/>
              <a:buChar char="-"/>
              <a:defRPr lang="de-DE"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01046" indent="-266394" algn="l" defTabSz="914126" rtl="0" eaLnBrk="1" latinLnBrk="0" hangingPunct="1">
              <a:lnSpc>
                <a:spcPts val="2020"/>
              </a:lnSpc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6782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5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0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3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400"/>
              </a:spcBef>
            </a:pPr>
            <a:r>
              <a:rPr lang="de-DE" altLang="de-DE" sz="1799" b="1" dirty="0">
                <a:solidFill>
                  <a:schemeClr val="bg1"/>
                </a:solidFill>
              </a:rPr>
              <a:t>Fraunhofer-Institut für</a:t>
            </a:r>
            <a:br>
              <a:rPr lang="de-DE" altLang="de-DE" sz="1799" b="1" dirty="0">
                <a:solidFill>
                  <a:schemeClr val="bg1"/>
                </a:solidFill>
              </a:rPr>
            </a:br>
            <a:r>
              <a:rPr lang="de-DE" altLang="de-DE" sz="1799" b="1" dirty="0">
                <a:solidFill>
                  <a:schemeClr val="bg1"/>
                </a:solidFill>
              </a:rPr>
              <a:t>Offene Kommunikationssysteme FOKUS</a:t>
            </a:r>
          </a:p>
          <a:p>
            <a:pPr algn="l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</a:pPr>
            <a:r>
              <a:rPr lang="de-DE" sz="1799" dirty="0">
                <a:solidFill>
                  <a:schemeClr val="bg1"/>
                </a:solidFill>
              </a:rPr>
              <a:t>Kaiserin-Augusta-Allee 31</a:t>
            </a:r>
            <a:br>
              <a:rPr lang="de-DE" sz="1799" dirty="0">
                <a:solidFill>
                  <a:schemeClr val="bg1"/>
                </a:solidFill>
              </a:rPr>
            </a:br>
            <a:r>
              <a:rPr lang="de-DE" sz="1799" dirty="0">
                <a:solidFill>
                  <a:schemeClr val="bg1"/>
                </a:solidFill>
              </a:rPr>
              <a:t>10589 Berlin, Germany</a:t>
            </a:r>
          </a:p>
          <a:p>
            <a:pPr algn="l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</a:pPr>
            <a:r>
              <a:rPr lang="de-DE" sz="1799" u="sng" dirty="0">
                <a:solidFill>
                  <a:schemeClr val="bg1"/>
                </a:solidFill>
              </a:rPr>
              <a:t>info@fokus.fraunhofer.de</a:t>
            </a:r>
          </a:p>
          <a:p>
            <a:pPr algn="l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</a:pPr>
            <a:r>
              <a:rPr lang="de-DE" sz="1799" u="sng" dirty="0">
                <a:solidFill>
                  <a:schemeClr val="bg1"/>
                </a:solidFill>
              </a:rPr>
              <a:t>www.fokus.fraunhofer.de</a:t>
            </a:r>
          </a:p>
        </p:txBody>
      </p:sp>
      <p:sp>
        <p:nvSpPr>
          <p:cNvPr id="2" name="Rechteck 1">
            <a:hlinkClick r:id="rId7"/>
          </p:cNvPr>
          <p:cNvSpPr/>
          <p:nvPr userDrawn="1"/>
        </p:nvSpPr>
        <p:spPr>
          <a:xfrm>
            <a:off x="709502" y="4544866"/>
            <a:ext cx="2610758" cy="28796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/>
          </a:p>
        </p:txBody>
      </p:sp>
      <p:sp>
        <p:nvSpPr>
          <p:cNvPr id="15" name="Rechteck 14">
            <a:hlinkClick r:id="rId8"/>
          </p:cNvPr>
          <p:cNvSpPr/>
          <p:nvPr userDrawn="1"/>
        </p:nvSpPr>
        <p:spPr>
          <a:xfrm>
            <a:off x="709503" y="4217916"/>
            <a:ext cx="2610683" cy="28796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900860" y="2846312"/>
            <a:ext cx="2361227" cy="786870"/>
          </a:xfrm>
          <a:solidFill>
            <a:schemeClr val="accent1"/>
          </a:solidFill>
        </p:spPr>
        <p:txBody>
          <a:bodyPr wrap="none" lIns="90000" tIns="90000" rIns="90000" bIns="90000">
            <a:spAutoFit/>
          </a:bodyPr>
          <a:lstStyle>
            <a:lvl1pPr>
              <a:defRPr sz="1799"/>
            </a:lvl1pPr>
            <a:lvl2pPr>
              <a:spcBef>
                <a:spcPts val="400"/>
              </a:spcBef>
              <a:defRPr sz="1799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Name Nachname</a:t>
            </a:r>
          </a:p>
          <a:p>
            <a:pPr lvl="1"/>
            <a:r>
              <a:rPr lang="de-DE" dirty="0"/>
              <a:t>Kontaktinformation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7497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11373038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F17BD62E-E8A4-8B47-916C-FD0B803385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849" y="6146446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1FF551EE-C143-AE40-AD7D-1B99FF11558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0111" y="5705612"/>
            <a:ext cx="6220593" cy="422307"/>
          </a:xfrm>
          <a:solidFill>
            <a:srgbClr val="6EAB3E"/>
          </a:solidFill>
        </p:spPr>
        <p:txBody>
          <a:bodyPr wrap="square" lIns="144000" tIns="72000" rIns="144000" bIns="72000" anchor="b">
            <a:spAutoFit/>
          </a:bodyPr>
          <a:lstStyle>
            <a:lvl1pPr>
              <a:defRPr sz="1799" b="0" baseline="0"/>
            </a:lvl1pPr>
            <a:lvl2pPr>
              <a:defRPr sz="1799" b="0"/>
            </a:lvl2pPr>
            <a:lvl3pPr>
              <a:defRPr sz="1799" b="0"/>
            </a:lvl3pPr>
            <a:lvl4pPr>
              <a:defRPr sz="1799" b="0"/>
            </a:lvl4pPr>
            <a:lvl5pPr>
              <a:defRPr sz="1799" b="0"/>
            </a:lvl5pPr>
          </a:lstStyle>
          <a:p>
            <a:pPr lvl="0"/>
            <a:r>
              <a:rPr lang="de-DE" dirty="0"/>
              <a:t>Tex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25251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08848" y="1233202"/>
            <a:ext cx="5542107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12"/>
          <p:cNvSpPr>
            <a:spLocks noGrp="1"/>
          </p:cNvSpPr>
          <p:nvPr>
            <p:ph sz="quarter" idx="15"/>
          </p:nvPr>
        </p:nvSpPr>
        <p:spPr>
          <a:xfrm>
            <a:off x="6240425" y="1233202"/>
            <a:ext cx="5542107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A05B1479-C3D3-894B-AB74-BD1776485D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849" y="6146446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4DB82EBC-FD22-E940-95A4-4FA632EB5C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0111" y="5705612"/>
            <a:ext cx="6220593" cy="422307"/>
          </a:xfrm>
          <a:solidFill>
            <a:srgbClr val="6EAB3E"/>
          </a:solidFill>
        </p:spPr>
        <p:txBody>
          <a:bodyPr wrap="square" lIns="144000" tIns="72000" rIns="144000" bIns="72000" anchor="b">
            <a:spAutoFit/>
          </a:bodyPr>
          <a:lstStyle>
            <a:lvl1pPr>
              <a:defRPr sz="1799" b="0" baseline="0"/>
            </a:lvl1pPr>
            <a:lvl2pPr>
              <a:defRPr sz="1799" b="0"/>
            </a:lvl2pPr>
            <a:lvl3pPr>
              <a:defRPr sz="1799" b="0"/>
            </a:lvl3pPr>
            <a:lvl4pPr>
              <a:defRPr sz="1799" b="0"/>
            </a:lvl4pPr>
            <a:lvl5pPr>
              <a:defRPr sz="1799" b="0"/>
            </a:lvl5pPr>
          </a:lstStyle>
          <a:p>
            <a:pPr lvl="0"/>
            <a:r>
              <a:rPr lang="de-DE" dirty="0"/>
              <a:t>Tex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52633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V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140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pic>
        <p:nvPicPr>
          <p:cNvPr id="5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586"/>
            <a:ext cx="12190026" cy="6291414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408849" y="427425"/>
            <a:ext cx="5578721" cy="55387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799" b="1" dirty="0">
                <a:solidFill>
                  <a:schemeClr val="bg1"/>
                </a:solidFill>
              </a:rPr>
              <a:t>Fraunhofer FOKUS</a:t>
            </a:r>
            <a:br>
              <a:rPr lang="de-DE" sz="1799" b="1" dirty="0">
                <a:solidFill>
                  <a:schemeClr val="bg1"/>
                </a:solidFill>
              </a:rPr>
            </a:br>
            <a:r>
              <a:rPr lang="de-DE" sz="1799" b="1" dirty="0">
                <a:solidFill>
                  <a:schemeClr val="bg1"/>
                </a:solidFill>
              </a:rPr>
              <a:t>Institut für Offene Kommunikationssysteme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>
          <a:xfrm>
            <a:off x="318888" y="3702590"/>
            <a:ext cx="5609347" cy="1202232"/>
          </a:xfrm>
          <a:solidFill>
            <a:schemeClr val="accent3"/>
          </a:solidFill>
        </p:spPr>
        <p:txBody>
          <a:bodyPr wrap="none" lIns="90000" tIns="46800" rIns="90000" bIns="46800" anchor="b"/>
          <a:lstStyle>
            <a:lvl1pPr algn="l">
              <a:defRPr sz="3599"/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18888" y="4904823"/>
            <a:ext cx="5609347" cy="402198"/>
          </a:xfrm>
          <a:solidFill>
            <a:schemeClr val="accent3"/>
          </a:solidFill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19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de-DE" dirty="0"/>
              <a:t>Formatvorlage des Untertitelmasters durch 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18888" y="6128675"/>
            <a:ext cx="3378146" cy="371385"/>
          </a:xfrm>
          <a:solidFill>
            <a:schemeClr val="accent3"/>
          </a:solidFill>
        </p:spPr>
        <p:txBody>
          <a:bodyPr wrap="none" lIns="90000" tIns="46800" rIns="90000" bIns="46800">
            <a:spAutoFit/>
          </a:bodyPr>
          <a:lstStyle>
            <a:lvl1pPr>
              <a:defRPr sz="1799" baseline="0"/>
            </a:lvl1pPr>
          </a:lstStyle>
          <a:p>
            <a:pPr lvl="0"/>
            <a:r>
              <a:rPr lang="de-DE" dirty="0"/>
              <a:t>Referent Name  |  Datum  |  Ort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5964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08848" y="1233202"/>
            <a:ext cx="3599063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12"/>
          <p:cNvSpPr>
            <a:spLocks noGrp="1"/>
          </p:cNvSpPr>
          <p:nvPr>
            <p:ph sz="quarter" idx="15"/>
          </p:nvPr>
        </p:nvSpPr>
        <p:spPr>
          <a:xfrm>
            <a:off x="4296245" y="1233202"/>
            <a:ext cx="3599513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8"/>
          </p:nvPr>
        </p:nvSpPr>
        <p:spPr>
          <a:xfrm>
            <a:off x="8183688" y="1233202"/>
            <a:ext cx="3599513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69F06A2F-2FD8-1840-9813-7278D6D275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849" y="6146446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2D976CFC-052F-AF4D-A000-FA19660583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0111" y="5705612"/>
            <a:ext cx="6220593" cy="422307"/>
          </a:xfrm>
          <a:solidFill>
            <a:srgbClr val="6EAB3E"/>
          </a:solidFill>
        </p:spPr>
        <p:txBody>
          <a:bodyPr wrap="square" lIns="144000" tIns="72000" rIns="144000" bIns="72000" anchor="b">
            <a:spAutoFit/>
          </a:bodyPr>
          <a:lstStyle>
            <a:lvl1pPr>
              <a:defRPr sz="1799" b="0" baseline="0"/>
            </a:lvl1pPr>
            <a:lvl2pPr>
              <a:defRPr sz="1799" b="0"/>
            </a:lvl2pPr>
            <a:lvl3pPr>
              <a:defRPr sz="1799" b="0"/>
            </a:lvl3pPr>
            <a:lvl4pPr>
              <a:defRPr sz="1799" b="0"/>
            </a:lvl4pPr>
            <a:lvl5pPr>
              <a:defRPr sz="1799" b="0"/>
            </a:lvl5pPr>
          </a:lstStyle>
          <a:p>
            <a:pPr lvl="0"/>
            <a:r>
              <a:rPr lang="de-DE" dirty="0"/>
              <a:t>Tex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242237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Inhalt und Bild mit Abb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C485E49-8A5E-3543-8A88-0B189EF91E73}"/>
              </a:ext>
            </a:extLst>
          </p:cNvPr>
          <p:cNvSpPr/>
          <p:nvPr userDrawn="1"/>
        </p:nvSpPr>
        <p:spPr>
          <a:xfrm>
            <a:off x="0" y="6127920"/>
            <a:ext cx="12192000" cy="7300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9977" tIns="46788" rIns="89977" bIns="46788" rtlCol="0" anchor="t">
            <a:noAutofit/>
          </a:bodyPr>
          <a:lstStyle/>
          <a:p>
            <a:pPr marL="179946" indent="-179946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1999" dirty="0">
              <a:solidFill>
                <a:schemeClr val="tx1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1279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11373039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112" y="581314"/>
            <a:ext cx="11373039" cy="3999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7D44C40-0B4F-BF45-848A-3630B3646D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8" name="Bildplatzhalter 3">
            <a:extLst>
              <a:ext uri="{FF2B5EF4-FFF2-40B4-BE49-F238E27FC236}">
                <a16:creationId xmlns:a16="http://schemas.microsoft.com/office/drawing/2014/main" id="{40F30101-8E29-D340-9BDD-84AC9FFFF76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378203" y="6226880"/>
            <a:ext cx="1447423" cy="477726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22" name="Bildplatzhalter 3">
            <a:extLst>
              <a:ext uri="{FF2B5EF4-FFF2-40B4-BE49-F238E27FC236}">
                <a16:creationId xmlns:a16="http://schemas.microsoft.com/office/drawing/2014/main" id="{4FD5773C-B564-F546-8FB0-E09BF58EFD8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00914" y="6226880"/>
            <a:ext cx="1447423" cy="477726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3D421325-121E-0047-9818-F5E0C6AFF6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849" y="6146446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DEEA5355-3382-E945-935F-80B8D249777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0111" y="5705612"/>
            <a:ext cx="6220593" cy="422307"/>
          </a:xfrm>
          <a:solidFill>
            <a:srgbClr val="6EAB3E"/>
          </a:solidFill>
        </p:spPr>
        <p:txBody>
          <a:bodyPr wrap="square" lIns="144000" tIns="72000" rIns="144000" bIns="72000" anchor="b">
            <a:spAutoFit/>
          </a:bodyPr>
          <a:lstStyle>
            <a:lvl1pPr>
              <a:defRPr sz="1799" b="0" baseline="0"/>
            </a:lvl1pPr>
            <a:lvl2pPr>
              <a:defRPr sz="1799" b="0"/>
            </a:lvl2pPr>
            <a:lvl3pPr>
              <a:defRPr sz="1799" b="0"/>
            </a:lvl3pPr>
            <a:lvl4pPr>
              <a:defRPr sz="1799" b="0"/>
            </a:lvl4pPr>
            <a:lvl5pPr>
              <a:defRPr sz="1799" b="0"/>
            </a:lvl5pPr>
          </a:lstStyle>
          <a:p>
            <a:pPr lvl="0"/>
            <a:r>
              <a:rPr lang="de-DE" dirty="0"/>
              <a:t>Tex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544686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678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6219870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6447"/>
            <a:ext cx="5542107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112" y="581314"/>
            <a:ext cx="6219870" cy="3999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5340" y="9851"/>
            <a:ext cx="5146660" cy="6858000"/>
          </a:xfrm>
          <a:solidFill>
            <a:srgbClr val="6EAB3E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0040530" y="6225292"/>
            <a:ext cx="1742621" cy="479314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1734715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Bild 1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-813" y="-13766"/>
            <a:ext cx="12193625" cy="6885533"/>
          </a:xfrm>
          <a:prstGeom prst="rect">
            <a:avLst/>
          </a:prstGeom>
        </p:spPr>
      </p:pic>
      <p:sp>
        <p:nvSpPr>
          <p:cNvPr id="22" name="Textfeld 21"/>
          <p:cNvSpPr txBox="1"/>
          <p:nvPr userDrawn="1"/>
        </p:nvSpPr>
        <p:spPr>
          <a:xfrm rot="5400000">
            <a:off x="11605581" y="537992"/>
            <a:ext cx="620219" cy="12307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defTabSz="1218510">
              <a:lnSpc>
                <a:spcPct val="100000"/>
              </a:lnSpc>
              <a:spcBef>
                <a:spcPts val="381"/>
              </a:spcBef>
              <a:buClr>
                <a:prstClr val="black"/>
              </a:buClr>
            </a:pPr>
            <a:r>
              <a:rPr lang="de-DE" sz="800" dirty="0">
                <a:solidFill>
                  <a:srgbClr val="FFFFFF"/>
                </a:solidFill>
              </a:rPr>
              <a:t>© ESA/NASA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FCD662DA-F467-C548-B5E8-41C7640F62EF}"/>
              </a:ext>
            </a:extLst>
          </p:cNvPr>
          <p:cNvSpPr txBox="1"/>
          <p:nvPr userDrawn="1"/>
        </p:nvSpPr>
        <p:spPr>
          <a:xfrm>
            <a:off x="408849" y="427425"/>
            <a:ext cx="5578721" cy="55387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799" b="1" dirty="0">
                <a:solidFill>
                  <a:schemeClr val="bg1"/>
                </a:solidFill>
              </a:rPr>
              <a:t>Fraunhofer FOKUS</a:t>
            </a:r>
            <a:br>
              <a:rPr lang="de-DE" sz="1799" b="1" dirty="0">
                <a:solidFill>
                  <a:schemeClr val="bg1"/>
                </a:solidFill>
              </a:rPr>
            </a:br>
            <a:r>
              <a:rPr lang="de-DE" sz="1799" b="1" dirty="0">
                <a:solidFill>
                  <a:schemeClr val="bg1"/>
                </a:solidFill>
              </a:rPr>
              <a:t>Institut für Offene Kommunikationssysteme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DAF4E3D3-C32C-7841-99B7-6B944826B4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8888" y="3702590"/>
            <a:ext cx="5609347" cy="1202232"/>
          </a:xfrm>
          <a:noFill/>
        </p:spPr>
        <p:txBody>
          <a:bodyPr wrap="none" lIns="90000" tIns="46800" rIns="90000" bIns="46800" anchor="b"/>
          <a:lstStyle>
            <a:lvl1pPr algn="l">
              <a:defRPr sz="3599"/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A7A36C0E-0DFA-7940-AF13-42D6BE0AD8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8888" y="4904823"/>
            <a:ext cx="5609347" cy="709903"/>
          </a:xfrm>
          <a:noFill/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19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de-DE" dirty="0"/>
              <a:t>Formatvorlage des Untertitelmasters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9F382B69-62D3-2244-BC25-5C95BC9BFB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8888" y="6128675"/>
            <a:ext cx="3515089" cy="371427"/>
          </a:xfrm>
          <a:noFill/>
        </p:spPr>
        <p:txBody>
          <a:bodyPr wrap="none" lIns="90000" tIns="46800" rIns="90000" bIns="46800">
            <a:spAutoFit/>
          </a:bodyPr>
          <a:lstStyle>
            <a:lvl1pPr>
              <a:defRPr sz="1799" baseline="0"/>
            </a:lvl1pPr>
          </a:lstStyle>
          <a:p>
            <a:pPr lvl="0"/>
            <a:r>
              <a:rPr lang="de-DE" dirty="0"/>
              <a:t>Referent Name  |  Datum  |  Ort</a:t>
            </a:r>
          </a:p>
        </p:txBody>
      </p:sp>
    </p:spTree>
    <p:extLst>
      <p:ext uri="{BB962C8B-B14F-4D97-AF65-F5344CB8AC3E}">
        <p14:creationId xmlns:p14="http://schemas.microsoft.com/office/powerpoint/2010/main" val="38476817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1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0040530" y="6225292"/>
            <a:ext cx="1742621" cy="479314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EB2F6E9-6B41-EA44-8470-C82185CBCE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8888" y="3702590"/>
            <a:ext cx="5609347" cy="1202232"/>
          </a:xfrm>
          <a:noFill/>
        </p:spPr>
        <p:txBody>
          <a:bodyPr wrap="none" lIns="90000" tIns="46800" rIns="90000" bIns="46800" anchor="b"/>
          <a:lstStyle>
            <a:lvl1pPr algn="l">
              <a:defRPr sz="3599"/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99C3FABB-3345-904E-98F2-997F83732A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8888" y="4904823"/>
            <a:ext cx="5609347" cy="402162"/>
          </a:xfrm>
          <a:noFill/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19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FDB8845-7A5B-D840-9DAE-70EDA73FD4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8888" y="6128675"/>
            <a:ext cx="3515089" cy="371427"/>
          </a:xfrm>
          <a:noFill/>
        </p:spPr>
        <p:txBody>
          <a:bodyPr wrap="none" lIns="90000" tIns="46800" rIns="90000" bIns="46800">
            <a:spAutoFit/>
          </a:bodyPr>
          <a:lstStyle>
            <a:lvl1pPr>
              <a:defRPr sz="1799" baseline="0"/>
            </a:lvl1pPr>
          </a:lstStyle>
          <a:p>
            <a:pPr lvl="0"/>
            <a:r>
              <a:rPr lang="de-DE" dirty="0"/>
              <a:t>Referent Name  |  Datum  |  Ort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E8BFDB0-FA8D-9949-AF6F-AEE7D156DA1D}"/>
              </a:ext>
            </a:extLst>
          </p:cNvPr>
          <p:cNvSpPr txBox="1"/>
          <p:nvPr userDrawn="1"/>
        </p:nvSpPr>
        <p:spPr>
          <a:xfrm>
            <a:off x="408849" y="427425"/>
            <a:ext cx="5578721" cy="55387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799" b="1" dirty="0">
                <a:solidFill>
                  <a:schemeClr val="bg1"/>
                </a:solidFill>
              </a:rPr>
              <a:t>Fraunhofer FOKUS</a:t>
            </a:r>
            <a:br>
              <a:rPr lang="de-DE" sz="1799" b="1" dirty="0">
                <a:solidFill>
                  <a:schemeClr val="bg1"/>
                </a:solidFill>
              </a:rPr>
            </a:br>
            <a:r>
              <a:rPr lang="de-DE" sz="1799" b="1" dirty="0">
                <a:solidFill>
                  <a:schemeClr val="bg1"/>
                </a:solidFill>
              </a:rPr>
              <a:t>Institut für Offene Kommunikationssysteme</a:t>
            </a:r>
          </a:p>
        </p:txBody>
      </p:sp>
    </p:spTree>
    <p:extLst>
      <p:ext uri="{BB962C8B-B14F-4D97-AF65-F5344CB8AC3E}">
        <p14:creationId xmlns:p14="http://schemas.microsoft.com/office/powerpoint/2010/main" val="274258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pic>
        <p:nvPicPr>
          <p:cNvPr id="5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586"/>
            <a:ext cx="12190026" cy="6291414"/>
          </a:xfrm>
          <a:prstGeom prst="rect">
            <a:avLst/>
          </a:prstGeom>
        </p:spPr>
      </p:pic>
      <p:sp>
        <p:nvSpPr>
          <p:cNvPr id="7" name="Textfeld 6"/>
          <p:cNvSpPr txBox="1"/>
          <p:nvPr userDrawn="1"/>
        </p:nvSpPr>
        <p:spPr>
          <a:xfrm>
            <a:off x="408849" y="427425"/>
            <a:ext cx="5578721" cy="55387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799" b="1" dirty="0">
                <a:solidFill>
                  <a:schemeClr val="bg1"/>
                </a:solidFill>
              </a:rPr>
              <a:t>Fraunhofer FOKUS</a:t>
            </a:r>
            <a:br>
              <a:rPr lang="de-DE" sz="1799" b="1" dirty="0">
                <a:solidFill>
                  <a:schemeClr val="bg1"/>
                </a:solidFill>
              </a:rPr>
            </a:br>
            <a:r>
              <a:rPr lang="de-DE" sz="1799" b="1" dirty="0">
                <a:solidFill>
                  <a:schemeClr val="bg1"/>
                </a:solidFill>
              </a:rPr>
              <a:t>Institut für Offene Kommunikationssysteme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>
          <a:xfrm>
            <a:off x="318888" y="3702590"/>
            <a:ext cx="5609347" cy="1202232"/>
          </a:xfrm>
          <a:solidFill>
            <a:schemeClr val="accent3"/>
          </a:solidFill>
        </p:spPr>
        <p:txBody>
          <a:bodyPr wrap="none" lIns="90000" tIns="46800" rIns="90000" bIns="46800" anchor="b"/>
          <a:lstStyle>
            <a:lvl1pPr algn="l">
              <a:defRPr sz="3599"/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18888" y="4904823"/>
            <a:ext cx="5609347" cy="709903"/>
          </a:xfrm>
          <a:solidFill>
            <a:schemeClr val="accent3"/>
          </a:solidFill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19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de-DE" dirty="0"/>
              <a:t>Formatvorlage des Untertitelmasters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18888" y="6128675"/>
            <a:ext cx="3515089" cy="371427"/>
          </a:xfrm>
          <a:solidFill>
            <a:schemeClr val="accent3"/>
          </a:solidFill>
        </p:spPr>
        <p:txBody>
          <a:bodyPr wrap="none" lIns="90000" tIns="46800" rIns="90000" bIns="46800">
            <a:spAutoFit/>
          </a:bodyPr>
          <a:lstStyle>
            <a:lvl1pPr>
              <a:defRPr sz="1799" baseline="0"/>
            </a:lvl1pPr>
          </a:lstStyle>
          <a:p>
            <a:pPr lvl="0"/>
            <a:r>
              <a:rPr lang="de-DE" dirty="0"/>
              <a:t>Referent Name  |  Datum  |  Ort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639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 2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30" name="Objekt 2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08848" y="1233265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128741" y="123326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08848" y="2565104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128741" y="256510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08848" y="3896944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128741" y="389694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08848" y="5228783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128741" y="5228783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240424" y="1233265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6960316" y="123326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240424" y="2565104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960316" y="256510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240424" y="3896944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6960316" y="389694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240424" y="5228783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6960316" y="5228783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31" name="Fußzeilenplatzhalter 4">
            <a:extLst>
              <a:ext uri="{FF2B5EF4-FFF2-40B4-BE49-F238E27FC236}">
                <a16:creationId xmlns:a16="http://schemas.microsoft.com/office/drawing/2014/main" id="{8F2199D1-7A1C-914E-A5DE-84877F25302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624790" y="6550753"/>
            <a:ext cx="6298360" cy="153852"/>
          </a:xfrm>
        </p:spPr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32" name="Foliennummernplatzhalter 5">
            <a:extLst>
              <a:ext uri="{FF2B5EF4-FFF2-40B4-BE49-F238E27FC236}">
                <a16:creationId xmlns:a16="http://schemas.microsoft.com/office/drawing/2014/main" id="{F11C6C5D-588D-924B-BBAB-169CFBE23B4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91946" y="6550753"/>
            <a:ext cx="258016" cy="153852"/>
          </a:xfrm>
        </p:spPr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62847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 V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pic>
        <p:nvPicPr>
          <p:cNvPr id="9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586"/>
            <a:ext cx="12190026" cy="6291414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452693" y="2709167"/>
            <a:ext cx="1439625" cy="1439667"/>
          </a:xfrm>
          <a:solidFill>
            <a:schemeClr val="bg1"/>
          </a:solidFill>
          <a:ln w="12700">
            <a:noFill/>
          </a:ln>
        </p:spPr>
        <p:txBody>
          <a:bodyPr lIns="36000" tIns="36000" rIns="36000" bIns="36000" anchor="ctr">
            <a:noAutofit/>
          </a:bodyPr>
          <a:lstStyle>
            <a:lvl1pPr algn="ctr">
              <a:defRPr sz="6598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2892318" y="2709087"/>
            <a:ext cx="7845957" cy="1439747"/>
          </a:xfrm>
          <a:solidFill>
            <a:schemeClr val="accent3"/>
          </a:solidFill>
        </p:spPr>
        <p:txBody>
          <a:bodyPr wrap="square" lIns="360000" anchor="ctr">
            <a:noAutofit/>
          </a:bodyPr>
          <a:lstStyle>
            <a:lvl1pPr>
              <a:spcBef>
                <a:spcPts val="400"/>
              </a:spcBef>
              <a:defRPr sz="31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5191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7067853" y="0"/>
            <a:ext cx="5124146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pic>
        <p:nvPicPr>
          <p:cNvPr id="9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7854" y="566586"/>
            <a:ext cx="5122171" cy="6291414"/>
          </a:xfrm>
          <a:prstGeom prst="rect">
            <a:avLst/>
          </a:prstGeom>
        </p:spPr>
      </p:pic>
      <p:sp>
        <p:nvSpPr>
          <p:cNvPr id="12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6239978" y="2601192"/>
            <a:ext cx="1655569" cy="1655617"/>
          </a:xfrm>
          <a:solidFill>
            <a:schemeClr val="accent3"/>
          </a:solidFill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65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09468" y="2936672"/>
            <a:ext cx="5828534" cy="984657"/>
          </a:xfrm>
          <a:noFill/>
          <a:ln>
            <a:noFill/>
          </a:ln>
        </p:spPr>
        <p:txBody>
          <a:bodyPr wrap="square" lIns="0" rIns="360000" anchor="ctr">
            <a:spAutoFit/>
          </a:bodyPr>
          <a:lstStyle>
            <a:lvl1pPr>
              <a:spcBef>
                <a:spcPts val="400"/>
              </a:spcBef>
              <a:defRPr sz="3199" b="1">
                <a:solidFill>
                  <a:schemeClr val="accent3"/>
                </a:solidFill>
              </a:defRPr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9F424837-F8B5-6C4C-8337-716D5ADB818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24790" y="6550753"/>
            <a:ext cx="6298360" cy="153852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FCD4FF45-CD1F-1247-94DC-D0E5284342A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291946" y="6550753"/>
            <a:ext cx="258016" cy="153852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68189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11373038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7158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45D2B80-D771-604E-B4CF-762034AFDD7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8603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V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pic>
        <p:nvPicPr>
          <p:cNvPr id="5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1974" y="566586"/>
            <a:ext cx="12190026" cy="6291414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408849" y="427425"/>
            <a:ext cx="5578721" cy="55387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799" b="1" dirty="0">
                <a:solidFill>
                  <a:schemeClr val="bg1"/>
                </a:solidFill>
              </a:rPr>
              <a:t>Fraunhofer FOKUS</a:t>
            </a:r>
            <a:br>
              <a:rPr lang="de-DE" sz="1799" b="1" dirty="0">
                <a:solidFill>
                  <a:schemeClr val="bg1"/>
                </a:solidFill>
              </a:rPr>
            </a:br>
            <a:r>
              <a:rPr lang="de-DE" sz="1799" b="1" dirty="0">
                <a:solidFill>
                  <a:schemeClr val="bg1"/>
                </a:solidFill>
              </a:rPr>
              <a:t>Institut für Offene Kommunikationssysteme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>
          <a:xfrm>
            <a:off x="318888" y="3702590"/>
            <a:ext cx="5609347" cy="1202232"/>
          </a:xfrm>
          <a:solidFill>
            <a:schemeClr val="bg1"/>
          </a:solidFill>
        </p:spPr>
        <p:txBody>
          <a:bodyPr wrap="none" lIns="90000" tIns="46800" rIns="90000" bIns="46800" anchor="b"/>
          <a:lstStyle>
            <a:lvl1pPr algn="l">
              <a:defRPr sz="3599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18888" y="4904823"/>
            <a:ext cx="5609347" cy="402198"/>
          </a:xfrm>
          <a:solidFill>
            <a:schemeClr val="bg1"/>
          </a:solidFill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1999">
                <a:solidFill>
                  <a:schemeClr val="accent3"/>
                </a:solidFill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de-DE" dirty="0"/>
              <a:t>Formatvorlage des Untertitelmasters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18888" y="6128675"/>
            <a:ext cx="3377267" cy="371427"/>
          </a:xfrm>
          <a:solidFill>
            <a:schemeClr val="bg1"/>
          </a:solidFill>
        </p:spPr>
        <p:txBody>
          <a:bodyPr wrap="none" lIns="90000" tIns="46800" rIns="90000" bIns="46800">
            <a:spAutoFit/>
          </a:bodyPr>
          <a:lstStyle>
            <a:lvl1pPr>
              <a:defRPr sz="1799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Referent Name  |  Datum  |  Ort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5208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, Inhalt und Bild mit Abb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C485E49-8A5E-3543-8A88-0B189EF91E73}"/>
              </a:ext>
            </a:extLst>
          </p:cNvPr>
          <p:cNvSpPr/>
          <p:nvPr userDrawn="1"/>
        </p:nvSpPr>
        <p:spPr>
          <a:xfrm>
            <a:off x="0" y="6127920"/>
            <a:ext cx="12192000" cy="7300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9977" tIns="46788" rIns="89977" bIns="46788" rtlCol="0" anchor="t">
            <a:noAutofit/>
          </a:bodyPr>
          <a:lstStyle/>
          <a:p>
            <a:pPr marL="179946" indent="-179946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1999" dirty="0">
              <a:solidFill>
                <a:schemeClr val="tx1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1279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11373039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112" y="581314"/>
            <a:ext cx="11373039" cy="3999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7D44C40-0B4F-BF45-848A-3630B3646D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8" name="Bildplatzhalter 3">
            <a:extLst>
              <a:ext uri="{FF2B5EF4-FFF2-40B4-BE49-F238E27FC236}">
                <a16:creationId xmlns:a16="http://schemas.microsoft.com/office/drawing/2014/main" id="{40F30101-8E29-D340-9BDD-84AC9FFFF76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378203" y="6226880"/>
            <a:ext cx="1447423" cy="477726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22" name="Bildplatzhalter 3">
            <a:extLst>
              <a:ext uri="{FF2B5EF4-FFF2-40B4-BE49-F238E27FC236}">
                <a16:creationId xmlns:a16="http://schemas.microsoft.com/office/drawing/2014/main" id="{4FD5773C-B564-F546-8FB0-E09BF58EFD8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00914" y="6226880"/>
            <a:ext cx="1447423" cy="477726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06A5E64C-7628-0148-8F44-FE4E6D654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5480"/>
            <a:ext cx="5542107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accent3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593564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Zeichen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9" name="Bildplatzhalter 3">
            <a:extLst>
              <a:ext uri="{FF2B5EF4-FFF2-40B4-BE49-F238E27FC236}">
                <a16:creationId xmlns:a16="http://schemas.microsoft.com/office/drawing/2014/main" id="{FA5E8D5D-5168-4F4A-98A0-B833238A74C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10113" y="1233245"/>
            <a:ext cx="11372419" cy="4894716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242818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mit Zeichen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Rechteck 2"/>
          <p:cNvSpPr/>
          <p:nvPr userDrawn="1"/>
        </p:nvSpPr>
        <p:spPr>
          <a:xfrm>
            <a:off x="408848" y="1233202"/>
            <a:ext cx="11373683" cy="48947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5458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pic>
        <p:nvPicPr>
          <p:cNvPr id="9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586"/>
            <a:ext cx="12190026" cy="6291414"/>
          </a:xfrm>
          <a:prstGeom prst="rect">
            <a:avLst/>
          </a:prstGeom>
        </p:spPr>
      </p:pic>
      <p:sp>
        <p:nvSpPr>
          <p:cNvPr id="2" name="Rechteck 1">
            <a:hlinkClick r:id="rId7"/>
          </p:cNvPr>
          <p:cNvSpPr/>
          <p:nvPr userDrawn="1"/>
        </p:nvSpPr>
        <p:spPr>
          <a:xfrm>
            <a:off x="709502" y="4544866"/>
            <a:ext cx="2610758" cy="28796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/>
          </a:p>
        </p:txBody>
      </p:sp>
      <p:sp>
        <p:nvSpPr>
          <p:cNvPr id="15" name="Rechteck 14">
            <a:hlinkClick r:id="rId8"/>
          </p:cNvPr>
          <p:cNvSpPr/>
          <p:nvPr userDrawn="1"/>
        </p:nvSpPr>
        <p:spPr>
          <a:xfrm>
            <a:off x="709503" y="4217916"/>
            <a:ext cx="2610683" cy="28796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0" name="Titel 18">
            <a:extLst>
              <a:ext uri="{FF2B5EF4-FFF2-40B4-BE49-F238E27FC236}">
                <a16:creationId xmlns:a16="http://schemas.microsoft.com/office/drawing/2014/main" id="{7E8DB8EC-9823-9E4E-8D87-7FE4EA613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12" y="581314"/>
            <a:ext cx="11373039" cy="3999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2765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3"/>
          <p:cNvSpPr txBox="1">
            <a:spLocks/>
          </p:cNvSpPr>
          <p:nvPr userDrawn="1"/>
        </p:nvSpPr>
        <p:spPr>
          <a:xfrm>
            <a:off x="597776" y="6178446"/>
            <a:ext cx="11018491" cy="25801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9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089564F-CA15-7142-862B-E77DE7CE8768}" type="slidenum">
              <a:rPr lang="de-DE" sz="1866" b="1">
                <a:solidFill>
                  <a:schemeClr val="tx2"/>
                </a:solidFill>
                <a:latin typeface="Arial"/>
              </a:rPr>
              <a:pPr algn="r"/>
              <a:t>‹Nr.›</a:t>
            </a:fld>
            <a:endParaRPr lang="de-DE" sz="1866" b="1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71499" y="6501161"/>
            <a:ext cx="11044764" cy="1437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4">
                <a:solidFill>
                  <a:srgbClr val="C7C9CA"/>
                </a:solidFill>
              </a:defRPr>
            </a:lvl1pPr>
          </a:lstStyle>
          <a:p>
            <a:r>
              <a:rPr lang="de-DE">
                <a:latin typeface="Arial"/>
              </a:rPr>
              <a:t>31.05.2022 | eBaseCamp Symposium</a:t>
            </a:r>
            <a:endParaRPr lang="de-DE" dirty="0">
              <a:latin typeface="Arial"/>
            </a:endParaRPr>
          </a:p>
        </p:txBody>
      </p:sp>
      <p:sp>
        <p:nvSpPr>
          <p:cNvPr id="9" name="Inhaltsplatzhalter 6"/>
          <p:cNvSpPr>
            <a:spLocks noGrp="1"/>
          </p:cNvSpPr>
          <p:nvPr>
            <p:ph sz="quarter" idx="13"/>
          </p:nvPr>
        </p:nvSpPr>
        <p:spPr>
          <a:xfrm>
            <a:off x="579670" y="1276011"/>
            <a:ext cx="9235203" cy="4661240"/>
          </a:xfrm>
        </p:spPr>
        <p:txBody>
          <a:bodyPr/>
          <a:lstStyle>
            <a:lvl1pPr marL="279591" indent="-279591">
              <a:defRPr sz="2133"/>
            </a:lvl1pPr>
            <a:lvl2pPr marL="625678" indent="-287147">
              <a:defRPr sz="2133"/>
            </a:lvl2pPr>
            <a:lvl3pPr marL="929448" indent="-294704">
              <a:defRPr sz="2133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584205" y="579274"/>
            <a:ext cx="11032063" cy="541074"/>
          </a:xfrm>
          <a:solidFill>
            <a:schemeClr val="tx2"/>
          </a:solidFill>
        </p:spPr>
        <p:txBody>
          <a:bodyPr wrap="square" lIns="108000" tIns="0" rIns="0" bIns="0" anchor="t" anchorCtr="0">
            <a:noAutofit/>
          </a:bodyPr>
          <a:lstStyle>
            <a:lvl1pPr algn="l">
              <a:lnSpc>
                <a:spcPts val="3933"/>
              </a:lnSpc>
              <a:defRPr sz="2666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3816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V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pic>
        <p:nvPicPr>
          <p:cNvPr id="5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1974" y="566586"/>
            <a:ext cx="12190026" cy="6291414"/>
          </a:xfrm>
          <a:prstGeom prst="rect">
            <a:avLst/>
          </a:prstGeom>
        </p:spPr>
      </p:pic>
      <p:sp>
        <p:nvSpPr>
          <p:cNvPr id="7" name="Textfeld 6"/>
          <p:cNvSpPr txBox="1"/>
          <p:nvPr userDrawn="1"/>
        </p:nvSpPr>
        <p:spPr>
          <a:xfrm>
            <a:off x="408849" y="427425"/>
            <a:ext cx="5578721" cy="55387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799" b="1" dirty="0">
                <a:solidFill>
                  <a:schemeClr val="bg1"/>
                </a:solidFill>
              </a:rPr>
              <a:t>Fraunhofer FOKUS</a:t>
            </a:r>
            <a:br>
              <a:rPr lang="de-DE" sz="1799" b="1" dirty="0">
                <a:solidFill>
                  <a:schemeClr val="bg1"/>
                </a:solidFill>
              </a:rPr>
            </a:br>
            <a:r>
              <a:rPr lang="de-DE" sz="1799" b="1" dirty="0">
                <a:solidFill>
                  <a:schemeClr val="bg1"/>
                </a:solidFill>
              </a:rPr>
              <a:t>Institut für Offene Kommunikationssysteme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>
          <a:xfrm>
            <a:off x="318888" y="3702590"/>
            <a:ext cx="5609347" cy="1202232"/>
          </a:xfrm>
          <a:solidFill>
            <a:schemeClr val="accent3"/>
          </a:solidFill>
        </p:spPr>
        <p:txBody>
          <a:bodyPr wrap="none" lIns="90000" tIns="46800" rIns="90000" bIns="46800" anchor="b"/>
          <a:lstStyle>
            <a:lvl1pPr algn="l">
              <a:defRPr sz="3599"/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18888" y="4904823"/>
            <a:ext cx="5609347" cy="709903"/>
          </a:xfrm>
          <a:solidFill>
            <a:schemeClr val="accent3"/>
          </a:solidFill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19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de-DE" dirty="0"/>
              <a:t>Formatvorlage des Untertitelmasters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18888" y="6128675"/>
            <a:ext cx="3378146" cy="371385"/>
          </a:xfrm>
          <a:solidFill>
            <a:schemeClr val="accent3"/>
          </a:solidFill>
        </p:spPr>
        <p:txBody>
          <a:bodyPr wrap="none" lIns="90000" tIns="46800" rIns="90000" bIns="46800">
            <a:spAutoFit/>
          </a:bodyPr>
          <a:lstStyle>
            <a:lvl1pPr>
              <a:defRPr sz="1799" baseline="0"/>
            </a:lvl1pPr>
          </a:lstStyle>
          <a:p>
            <a:pPr lvl="0"/>
            <a:r>
              <a:rPr lang="de-DE" dirty="0"/>
              <a:t>Referent Name  |  Datum  |  Ort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9592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pic>
        <p:nvPicPr>
          <p:cNvPr id="5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586"/>
            <a:ext cx="12190026" cy="6291414"/>
          </a:xfrm>
          <a:prstGeom prst="rect">
            <a:avLst/>
          </a:prstGeom>
        </p:spPr>
      </p:pic>
      <p:sp>
        <p:nvSpPr>
          <p:cNvPr id="7" name="Textfeld 6"/>
          <p:cNvSpPr txBox="1"/>
          <p:nvPr userDrawn="1"/>
        </p:nvSpPr>
        <p:spPr>
          <a:xfrm>
            <a:off x="408849" y="427425"/>
            <a:ext cx="5578721" cy="55387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799" b="1" dirty="0">
                <a:solidFill>
                  <a:schemeClr val="bg1"/>
                </a:solidFill>
              </a:rPr>
              <a:t>Fraunhofer FOKUS</a:t>
            </a:r>
            <a:br>
              <a:rPr lang="de-DE" sz="1799" b="1" dirty="0">
                <a:solidFill>
                  <a:schemeClr val="bg1"/>
                </a:solidFill>
              </a:rPr>
            </a:br>
            <a:r>
              <a:rPr lang="de-DE" sz="1799" b="1" dirty="0">
                <a:solidFill>
                  <a:schemeClr val="bg1"/>
                </a:solidFill>
              </a:rPr>
              <a:t>Institut für Offene Kommunikationssysteme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>
          <a:xfrm>
            <a:off x="318888" y="3702590"/>
            <a:ext cx="5609347" cy="1202232"/>
          </a:xfrm>
          <a:solidFill>
            <a:schemeClr val="accent3"/>
          </a:solidFill>
        </p:spPr>
        <p:txBody>
          <a:bodyPr wrap="none" lIns="90000" tIns="46800" rIns="90000" bIns="46800" anchor="b"/>
          <a:lstStyle>
            <a:lvl1pPr algn="l">
              <a:defRPr sz="3599"/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18888" y="4904823"/>
            <a:ext cx="5609347" cy="709903"/>
          </a:xfrm>
          <a:solidFill>
            <a:schemeClr val="accent3"/>
          </a:solidFill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19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de-DE" dirty="0"/>
              <a:t>Formatvorlage des Untertitelmasters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18888" y="6128675"/>
            <a:ext cx="3378146" cy="371385"/>
          </a:xfrm>
          <a:solidFill>
            <a:schemeClr val="accent3"/>
          </a:solidFill>
        </p:spPr>
        <p:txBody>
          <a:bodyPr wrap="none" lIns="90000" tIns="46800" rIns="90000" bIns="46800">
            <a:spAutoFit/>
          </a:bodyPr>
          <a:lstStyle>
            <a:lvl1pPr>
              <a:defRPr sz="1799" baseline="0"/>
            </a:lvl1pPr>
          </a:lstStyle>
          <a:p>
            <a:pPr lvl="0"/>
            <a:r>
              <a:rPr lang="de-DE" dirty="0"/>
              <a:t>Referent Name  |  Datum  |  Ort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3407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 1">
            <a:extLst>
              <a:ext uri="{FF2B5EF4-FFF2-40B4-BE49-F238E27FC236}">
                <a16:creationId xmlns:a16="http://schemas.microsoft.com/office/drawing/2014/main" id="{5BA8C8D9-011F-3740-836D-BBDF3E8B98EF}"/>
              </a:ext>
            </a:extLst>
          </p:cNvPr>
          <p:cNvPicPr>
            <a:picLocks noChangeAspect="1"/>
          </p:cNvPicPr>
          <p:nvPr userDrawn="1"/>
        </p:nvPicPr>
        <p:blipFill rotWithShape="1"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" t="-170" b="15244"/>
          <a:stretch/>
        </p:blipFill>
        <p:spPr>
          <a:xfrm>
            <a:off x="1" y="-13766"/>
            <a:ext cx="12157173" cy="6885533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84755688-040B-7942-A81E-5B3F1302093B}"/>
              </a:ext>
            </a:extLst>
          </p:cNvPr>
          <p:cNvSpPr/>
          <p:nvPr userDrawn="1"/>
        </p:nvSpPr>
        <p:spPr bwMode="auto">
          <a:xfrm>
            <a:off x="0" y="1"/>
            <a:ext cx="8384171" cy="6873237"/>
          </a:xfrm>
          <a:prstGeom prst="rect">
            <a:avLst/>
          </a:prstGeom>
          <a:gradFill>
            <a:gsLst>
              <a:gs pos="0">
                <a:schemeClr val="tx1">
                  <a:alpha val="52000"/>
                </a:schemeClr>
              </a:gs>
              <a:gs pos="48000">
                <a:srgbClr val="000000">
                  <a:alpha val="7000"/>
                </a:srgbClr>
              </a:gs>
              <a:gs pos="97000">
                <a:schemeClr val="tx1">
                  <a:alpha val="0"/>
                  <a:lumMod val="83000"/>
                </a:schemeClr>
              </a:gs>
            </a:gsLst>
            <a:lin ang="1200000" scaled="0"/>
          </a:gradFill>
          <a:ln w="22225" cap="flat" cmpd="sng">
            <a:noFill/>
            <a:prstDash val="solid"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399" kern="0">
              <a:solidFill>
                <a:sysClr val="windowText" lastClr="000000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CB6C375-396C-C94B-86BA-109DC14B1408}"/>
              </a:ext>
            </a:extLst>
          </p:cNvPr>
          <p:cNvSpPr txBox="1"/>
          <p:nvPr userDrawn="1"/>
        </p:nvSpPr>
        <p:spPr>
          <a:xfrm rot="5400000">
            <a:off x="10541914" y="1486156"/>
            <a:ext cx="2644224" cy="3211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1218622">
              <a:lnSpc>
                <a:spcPts val="1903"/>
              </a:lnSpc>
              <a:spcBef>
                <a:spcPts val="381"/>
              </a:spcBef>
              <a:buClr>
                <a:prstClr val="black"/>
              </a:buClr>
            </a:pPr>
            <a:r>
              <a:rPr lang="de-DE" sz="800" dirty="0">
                <a:solidFill>
                  <a:srgbClr val="FFFFFF"/>
                </a:solidFill>
              </a:rPr>
              <a:t>© Philipp </a:t>
            </a:r>
            <a:r>
              <a:rPr lang="de-DE" sz="800" dirty="0" err="1">
                <a:solidFill>
                  <a:srgbClr val="FFFFFF"/>
                </a:solidFill>
              </a:rPr>
              <a:t>Plum</a:t>
            </a:r>
            <a:r>
              <a:rPr lang="de-DE" sz="800">
                <a:solidFill>
                  <a:srgbClr val="FFFFFF"/>
                </a:solidFill>
              </a:rPr>
              <a:t>/ Fraunhofer </a:t>
            </a:r>
            <a:r>
              <a:rPr lang="de-DE" sz="800" dirty="0">
                <a:solidFill>
                  <a:srgbClr val="FFFFFF"/>
                </a:solidFill>
              </a:rPr>
              <a:t>FOKUS</a:t>
            </a:r>
            <a:endParaRPr lang="de-DE" sz="800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FCD662DA-F467-C548-B5E8-41C7640F62EF}"/>
              </a:ext>
            </a:extLst>
          </p:cNvPr>
          <p:cNvSpPr txBox="1"/>
          <p:nvPr userDrawn="1"/>
        </p:nvSpPr>
        <p:spPr>
          <a:xfrm>
            <a:off x="408849" y="427425"/>
            <a:ext cx="5578721" cy="55387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799" b="1" dirty="0">
                <a:solidFill>
                  <a:schemeClr val="bg1"/>
                </a:solidFill>
              </a:rPr>
              <a:t>Fraunhofer FOKUS</a:t>
            </a:r>
            <a:br>
              <a:rPr lang="de-DE" sz="1799" b="1" dirty="0">
                <a:solidFill>
                  <a:schemeClr val="bg1"/>
                </a:solidFill>
              </a:rPr>
            </a:br>
            <a:r>
              <a:rPr lang="de-DE" sz="1799" b="1" dirty="0">
                <a:solidFill>
                  <a:schemeClr val="bg1"/>
                </a:solidFill>
              </a:rPr>
              <a:t>Institut für Offene Kommunikationssysteme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DAF4E3D3-C32C-7841-99B7-6B944826B4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8888" y="3702590"/>
            <a:ext cx="5609347" cy="1202232"/>
          </a:xfrm>
          <a:noFill/>
        </p:spPr>
        <p:txBody>
          <a:bodyPr wrap="none" lIns="90000" tIns="46800" rIns="90000" bIns="46800" anchor="b"/>
          <a:lstStyle>
            <a:lvl1pPr algn="l">
              <a:defRPr sz="3599"/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A7A36C0E-0DFA-7940-AF13-42D6BE0AD8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8888" y="4904823"/>
            <a:ext cx="5609347" cy="709903"/>
          </a:xfrm>
          <a:noFill/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19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de-DE" dirty="0"/>
              <a:t>Formatvorlage des Untertitelmasters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9F382B69-62D3-2244-BC25-5C95BC9BFB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8888" y="6128675"/>
            <a:ext cx="3515089" cy="371427"/>
          </a:xfrm>
          <a:noFill/>
        </p:spPr>
        <p:txBody>
          <a:bodyPr wrap="none" lIns="90000" tIns="46800" rIns="90000" bIns="46800">
            <a:spAutoFit/>
          </a:bodyPr>
          <a:lstStyle>
            <a:lvl1pPr>
              <a:defRPr sz="1799" b="1" baseline="0"/>
            </a:lvl1pPr>
          </a:lstStyle>
          <a:p>
            <a:pPr lvl="0"/>
            <a:r>
              <a:rPr lang="de-DE" dirty="0"/>
              <a:t>Referent Name  |  Datum  |  Ort</a:t>
            </a:r>
          </a:p>
        </p:txBody>
      </p:sp>
    </p:spTree>
    <p:extLst>
      <p:ext uri="{BB962C8B-B14F-4D97-AF65-F5344CB8AC3E}">
        <p14:creationId xmlns:p14="http://schemas.microsoft.com/office/powerpoint/2010/main" val="9474589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 V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pic>
        <p:nvPicPr>
          <p:cNvPr id="5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1974" y="566586"/>
            <a:ext cx="12190026" cy="629141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E2F2D834-B8DB-7C41-AFBA-88A1DC315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12" y="581278"/>
            <a:ext cx="11373038" cy="40001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2114A831-635A-6242-ADD4-7518C678E37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624790" y="6550753"/>
            <a:ext cx="6298360" cy="153852"/>
          </a:xfrm>
        </p:spPr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B8AEB873-C35D-8740-BE40-30D4CF36D3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91946" y="6550753"/>
            <a:ext cx="258016" cy="153852"/>
          </a:xfrm>
        </p:spPr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76989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 2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30" name="Objekt 2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08848" y="1233265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128741" y="123326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08848" y="2565104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128741" y="256510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08848" y="3896944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128741" y="389694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08848" y="5228783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128741" y="5228783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240424" y="1233265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6960316" y="123326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240424" y="2565104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960316" y="256510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240424" y="3896944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6960316" y="389694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240424" y="5228783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6960316" y="5228783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31" name="Fußzeilenplatzhalter 4">
            <a:extLst>
              <a:ext uri="{FF2B5EF4-FFF2-40B4-BE49-F238E27FC236}">
                <a16:creationId xmlns:a16="http://schemas.microsoft.com/office/drawing/2014/main" id="{8F2199D1-7A1C-914E-A5DE-84877F25302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624790" y="6550753"/>
            <a:ext cx="6298360" cy="153852"/>
          </a:xfrm>
        </p:spPr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32" name="Foliennummernplatzhalter 5">
            <a:extLst>
              <a:ext uri="{FF2B5EF4-FFF2-40B4-BE49-F238E27FC236}">
                <a16:creationId xmlns:a16="http://schemas.microsoft.com/office/drawing/2014/main" id="{F11C6C5D-588D-924B-BBAB-169CFBE23B4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91946" y="6550753"/>
            <a:ext cx="258016" cy="153852"/>
          </a:xfrm>
        </p:spPr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99403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 2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0208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30" name="Objekt 2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08848" y="1233265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128741" y="123326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08848" y="2565104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128741" y="256510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08848" y="3896944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128741" y="389694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08848" y="5228783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128741" y="5228783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240424" y="1233265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6960316" y="123326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240424" y="2565104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960316" y="256510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240424" y="3896944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6960316" y="3896944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240424" y="5228783"/>
            <a:ext cx="503869" cy="503883"/>
          </a:xfrm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2599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6960316" y="5228783"/>
            <a:ext cx="4822834" cy="871832"/>
          </a:xfrm>
        </p:spPr>
        <p:txBody>
          <a:bodyPr wrap="square" anchor="t">
            <a:noAutofit/>
          </a:bodyPr>
          <a:lstStyle>
            <a:lvl1pPr>
              <a:spcBef>
                <a:spcPts val="400"/>
              </a:spcBef>
              <a:defRPr sz="17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  <a:p>
            <a:pPr lvl="1"/>
            <a:r>
              <a:rPr lang="de-DE" dirty="0"/>
              <a:t>1.1 Unterpunkt durch Klicken bearbeiten</a:t>
            </a:r>
          </a:p>
          <a:p>
            <a:pPr lvl="1"/>
            <a:r>
              <a:rPr lang="de-DE" dirty="0"/>
              <a:t>1.2 Unterpunkt durch Klicken bearbeiten</a:t>
            </a:r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31" name="Fußzeilenplatzhalter 4">
            <a:extLst>
              <a:ext uri="{FF2B5EF4-FFF2-40B4-BE49-F238E27FC236}">
                <a16:creationId xmlns:a16="http://schemas.microsoft.com/office/drawing/2014/main" id="{8F2199D1-7A1C-914E-A5DE-84877F25302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624790" y="6550753"/>
            <a:ext cx="6298360" cy="153852"/>
          </a:xfrm>
        </p:spPr>
        <p:txBody>
          <a:bodyPr/>
          <a:lstStyle/>
          <a:p>
            <a:endParaRPr lang="en-US"/>
          </a:p>
        </p:txBody>
      </p:sp>
      <p:sp>
        <p:nvSpPr>
          <p:cNvPr id="32" name="Foliennummernplatzhalter 5">
            <a:extLst>
              <a:ext uri="{FF2B5EF4-FFF2-40B4-BE49-F238E27FC236}">
                <a16:creationId xmlns:a16="http://schemas.microsoft.com/office/drawing/2014/main" id="{F11C6C5D-588D-924B-BBAB-169CFBE23B4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291946" y="6550753"/>
            <a:ext cx="258016" cy="153852"/>
          </a:xfrm>
        </p:spPr>
        <p:txBody>
          <a:bodyPr/>
          <a:lstStyle/>
          <a:p>
            <a:fld id="{5552C727-7F6F-44A3-9913-74F88EEB8F23}" type="slidenum">
              <a:rPr lang="en-US" smtClean="0"/>
              <a:t>‹Nr.›</a:t>
            </a:fld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2C50404-90CD-461F-A903-8D6F80CA70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9052243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 V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pic>
        <p:nvPicPr>
          <p:cNvPr id="9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586"/>
            <a:ext cx="12190026" cy="6291414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452693" y="2709167"/>
            <a:ext cx="1439625" cy="1439667"/>
          </a:xfrm>
          <a:solidFill>
            <a:schemeClr val="bg1"/>
          </a:solidFill>
          <a:ln w="12700">
            <a:noFill/>
          </a:ln>
        </p:spPr>
        <p:txBody>
          <a:bodyPr lIns="36000" tIns="36000" rIns="36000" bIns="36000" anchor="ctr">
            <a:noAutofit/>
          </a:bodyPr>
          <a:lstStyle>
            <a:lvl1pPr algn="ctr">
              <a:defRPr sz="6598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2892318" y="2709087"/>
            <a:ext cx="7845957" cy="1439747"/>
          </a:xfrm>
          <a:solidFill>
            <a:schemeClr val="accent3"/>
          </a:solidFill>
        </p:spPr>
        <p:txBody>
          <a:bodyPr wrap="square" lIns="360000" anchor="ctr">
            <a:noAutofit/>
          </a:bodyPr>
          <a:lstStyle>
            <a:lvl1pPr>
              <a:spcBef>
                <a:spcPts val="400"/>
              </a:spcBef>
              <a:defRPr sz="3199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2423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7067853" y="0"/>
            <a:ext cx="5124146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pic>
        <p:nvPicPr>
          <p:cNvPr id="9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7854" y="566586"/>
            <a:ext cx="5122171" cy="6291414"/>
          </a:xfrm>
          <a:prstGeom prst="rect">
            <a:avLst/>
          </a:prstGeom>
        </p:spPr>
      </p:pic>
      <p:sp>
        <p:nvSpPr>
          <p:cNvPr id="12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6239978" y="2601192"/>
            <a:ext cx="1655569" cy="1655617"/>
          </a:xfrm>
          <a:solidFill>
            <a:schemeClr val="accent3"/>
          </a:solidFill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65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09468" y="2936672"/>
            <a:ext cx="5828534" cy="984657"/>
          </a:xfrm>
          <a:noFill/>
          <a:ln>
            <a:noFill/>
          </a:ln>
        </p:spPr>
        <p:txBody>
          <a:bodyPr wrap="square" lIns="0" rIns="360000" anchor="ctr">
            <a:spAutoFit/>
          </a:bodyPr>
          <a:lstStyle>
            <a:lvl1pPr>
              <a:spcBef>
                <a:spcPts val="400"/>
              </a:spcBef>
              <a:defRPr sz="3199" b="1">
                <a:solidFill>
                  <a:schemeClr val="accent3"/>
                </a:solidFill>
              </a:defRPr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9F424837-F8B5-6C4C-8337-716D5ADB818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24790" y="6550753"/>
            <a:ext cx="6298360" cy="153852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FCD4FF45-CD1F-1247-94DC-D0E5284342A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291946" y="6550753"/>
            <a:ext cx="258016" cy="153852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15960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11373038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7158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45D2B80-D771-604E-B4CF-762034AFDD7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6348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, Inhalt und Bild mit Abb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C485E49-8A5E-3543-8A88-0B189EF91E73}"/>
              </a:ext>
            </a:extLst>
          </p:cNvPr>
          <p:cNvSpPr/>
          <p:nvPr userDrawn="1"/>
        </p:nvSpPr>
        <p:spPr>
          <a:xfrm>
            <a:off x="0" y="6127920"/>
            <a:ext cx="12192000" cy="7300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9977" tIns="46788" rIns="89977" bIns="46788" rtlCol="0" anchor="t">
            <a:noAutofit/>
          </a:bodyPr>
          <a:lstStyle/>
          <a:p>
            <a:pPr marL="179946" indent="-179946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de-DE" sz="1999" dirty="0">
              <a:solidFill>
                <a:schemeClr val="tx1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1279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11373039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112" y="581314"/>
            <a:ext cx="11373039" cy="3999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7D44C40-0B4F-BF45-848A-3630B3646D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8" name="Bildplatzhalter 3">
            <a:extLst>
              <a:ext uri="{FF2B5EF4-FFF2-40B4-BE49-F238E27FC236}">
                <a16:creationId xmlns:a16="http://schemas.microsoft.com/office/drawing/2014/main" id="{40F30101-8E29-D340-9BDD-84AC9FFFF76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378203" y="6226880"/>
            <a:ext cx="1447423" cy="477726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22" name="Bildplatzhalter 3">
            <a:extLst>
              <a:ext uri="{FF2B5EF4-FFF2-40B4-BE49-F238E27FC236}">
                <a16:creationId xmlns:a16="http://schemas.microsoft.com/office/drawing/2014/main" id="{4FD5773C-B564-F546-8FB0-E09BF58EFD8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00914" y="6226880"/>
            <a:ext cx="1447423" cy="477726"/>
          </a:xfrm>
          <a:noFill/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06A5E64C-7628-0148-8F44-FE4E6D654E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5480"/>
            <a:ext cx="5542107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accent3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7918160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Zeichen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9" name="Bildplatzhalter 3">
            <a:extLst>
              <a:ext uri="{FF2B5EF4-FFF2-40B4-BE49-F238E27FC236}">
                <a16:creationId xmlns:a16="http://schemas.microsoft.com/office/drawing/2014/main" id="{FA5E8D5D-5168-4F4A-98A0-B833238A74C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10113" y="1233245"/>
            <a:ext cx="11372419" cy="4894716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8483568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mit Zeichen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Rechteck 2"/>
          <p:cNvSpPr/>
          <p:nvPr userDrawn="1"/>
        </p:nvSpPr>
        <p:spPr>
          <a:xfrm>
            <a:off x="408848" y="1233202"/>
            <a:ext cx="11373683" cy="48947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36357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pic>
        <p:nvPicPr>
          <p:cNvPr id="9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586"/>
            <a:ext cx="12190026" cy="6291414"/>
          </a:xfrm>
          <a:prstGeom prst="rect">
            <a:avLst/>
          </a:prstGeom>
        </p:spPr>
      </p:pic>
      <p:sp>
        <p:nvSpPr>
          <p:cNvPr id="11" name="Inhaltsplatzhalter 3"/>
          <p:cNvSpPr txBox="1">
            <a:spLocks/>
          </p:cNvSpPr>
          <p:nvPr userDrawn="1"/>
        </p:nvSpPr>
        <p:spPr>
          <a:xfrm>
            <a:off x="647831" y="2846312"/>
            <a:ext cx="4643309" cy="20648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89977" tIns="89977" rIns="89977" bIns="89977" rtlCol="0" anchor="ctr">
            <a:noAutofit/>
          </a:bodyPr>
          <a:lstStyle>
            <a:lvl1pPr marL="0" indent="0" algn="l" defTabSz="914126" rtl="0" eaLnBrk="1" latinLnBrk="0" hangingPunct="1">
              <a:lnSpc>
                <a:spcPts val="2020"/>
              </a:lnSpc>
              <a:spcBef>
                <a:spcPct val="20000"/>
              </a:spcBef>
              <a:buClrTx/>
              <a:buFont typeface="Symbol" charset="2"/>
              <a:buNone/>
              <a:tabLst/>
              <a:defRPr lang="de-DE"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57326" indent="-257326" algn="l" defTabSz="914126" rtl="0" eaLnBrk="1" latinLnBrk="0" hangingPunct="1">
              <a:spcBef>
                <a:spcPct val="20000"/>
              </a:spcBef>
              <a:buClrTx/>
              <a:buFont typeface="Symbol" charset="2"/>
              <a:buChar char="-"/>
              <a:tabLst/>
              <a:defRPr lang="de-DE"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716428" indent="-240321" algn="l" defTabSz="914126" rtl="0" eaLnBrk="1" latinLnBrk="0" hangingPunct="1">
              <a:lnSpc>
                <a:spcPts val="2020"/>
              </a:lnSpc>
              <a:spcBef>
                <a:spcPct val="20000"/>
              </a:spcBef>
              <a:buClrTx/>
              <a:buFont typeface="Symbol" charset="2"/>
              <a:buChar char="-"/>
              <a:defRPr lang="de-DE"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01046" indent="-266394" algn="l" defTabSz="914126" rtl="0" eaLnBrk="1" latinLnBrk="0" hangingPunct="1">
              <a:lnSpc>
                <a:spcPts val="2020"/>
              </a:lnSpc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6782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5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0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3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400"/>
              </a:spcBef>
            </a:pPr>
            <a:r>
              <a:rPr lang="de-DE" altLang="de-DE" sz="1799" b="1" dirty="0">
                <a:solidFill>
                  <a:schemeClr val="bg1"/>
                </a:solidFill>
              </a:rPr>
              <a:t>Fraunhofer-Institut für</a:t>
            </a:r>
            <a:br>
              <a:rPr lang="de-DE" altLang="de-DE" sz="1799" b="1" dirty="0">
                <a:solidFill>
                  <a:schemeClr val="bg1"/>
                </a:solidFill>
              </a:rPr>
            </a:br>
            <a:r>
              <a:rPr lang="de-DE" altLang="de-DE" sz="1799" b="1" dirty="0">
                <a:solidFill>
                  <a:schemeClr val="bg1"/>
                </a:solidFill>
              </a:rPr>
              <a:t>Offene Kommunikationssysteme FOKUS</a:t>
            </a:r>
          </a:p>
          <a:p>
            <a:pPr algn="l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</a:pPr>
            <a:r>
              <a:rPr lang="de-DE" sz="1799" dirty="0">
                <a:solidFill>
                  <a:schemeClr val="bg1"/>
                </a:solidFill>
              </a:rPr>
              <a:t>Kaiserin-Augusta-Allee 31</a:t>
            </a:r>
            <a:br>
              <a:rPr lang="de-DE" sz="1799" dirty="0">
                <a:solidFill>
                  <a:schemeClr val="bg1"/>
                </a:solidFill>
              </a:rPr>
            </a:br>
            <a:r>
              <a:rPr lang="de-DE" sz="1799" dirty="0">
                <a:solidFill>
                  <a:schemeClr val="bg1"/>
                </a:solidFill>
              </a:rPr>
              <a:t>10589 Berlin, Germany</a:t>
            </a:r>
          </a:p>
          <a:p>
            <a:pPr algn="l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</a:pPr>
            <a:r>
              <a:rPr lang="de-DE" sz="1799" u="sng" dirty="0">
                <a:solidFill>
                  <a:schemeClr val="bg1"/>
                </a:solidFill>
              </a:rPr>
              <a:t>info@fokus.fraunhofer.de</a:t>
            </a:r>
          </a:p>
          <a:p>
            <a:pPr algn="l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</a:pPr>
            <a:r>
              <a:rPr lang="de-DE" sz="1799" u="sng" dirty="0">
                <a:solidFill>
                  <a:schemeClr val="bg1"/>
                </a:solidFill>
              </a:rPr>
              <a:t>www.fokus.fraunhofer.de</a:t>
            </a:r>
          </a:p>
        </p:txBody>
      </p:sp>
      <p:sp>
        <p:nvSpPr>
          <p:cNvPr id="2" name="Rechteck 1">
            <a:hlinkClick r:id="rId7"/>
          </p:cNvPr>
          <p:cNvSpPr/>
          <p:nvPr userDrawn="1"/>
        </p:nvSpPr>
        <p:spPr>
          <a:xfrm>
            <a:off x="709502" y="4544866"/>
            <a:ext cx="2610758" cy="28796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/>
          </a:p>
        </p:txBody>
      </p:sp>
      <p:sp>
        <p:nvSpPr>
          <p:cNvPr id="15" name="Rechteck 14">
            <a:hlinkClick r:id="rId8"/>
          </p:cNvPr>
          <p:cNvSpPr/>
          <p:nvPr userDrawn="1"/>
        </p:nvSpPr>
        <p:spPr>
          <a:xfrm>
            <a:off x="709503" y="4217916"/>
            <a:ext cx="2610683" cy="287965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900860" y="2846312"/>
            <a:ext cx="2361227" cy="786870"/>
          </a:xfrm>
          <a:solidFill>
            <a:schemeClr val="accent3"/>
          </a:solidFill>
        </p:spPr>
        <p:txBody>
          <a:bodyPr wrap="none" lIns="90000" tIns="90000" rIns="90000" bIns="90000">
            <a:spAutoFit/>
          </a:bodyPr>
          <a:lstStyle>
            <a:lvl1pPr>
              <a:defRPr sz="1799"/>
            </a:lvl1pPr>
            <a:lvl2pPr>
              <a:spcBef>
                <a:spcPts val="400"/>
              </a:spcBef>
              <a:defRPr sz="1799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Name Nachname</a:t>
            </a:r>
          </a:p>
          <a:p>
            <a:pPr lvl="1"/>
            <a:r>
              <a:rPr lang="de-DE" dirty="0"/>
              <a:t>Kontaktinformation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0" name="Titel 18">
            <a:extLst>
              <a:ext uri="{FF2B5EF4-FFF2-40B4-BE49-F238E27FC236}">
                <a16:creationId xmlns:a16="http://schemas.microsoft.com/office/drawing/2014/main" id="{7E8DB8EC-9823-9E4E-8D87-7FE4EA613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12" y="581314"/>
            <a:ext cx="11373039" cy="3999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498651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6219870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6447"/>
            <a:ext cx="5542107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112" y="581314"/>
            <a:ext cx="6219870" cy="3999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5340" y="0"/>
            <a:ext cx="5146660" cy="6858000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0040530" y="6225292"/>
            <a:ext cx="1742621" cy="479314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9523D3CE-B21C-8347-8E9F-5C49AE3F9F5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8926260" y="3132565"/>
            <a:ext cx="5867630" cy="123079"/>
          </a:xfrm>
        </p:spPr>
        <p:txBody>
          <a:bodyPr wrap="square" anchor="b">
            <a:spAutoFit/>
          </a:bodyPr>
          <a:lstStyle>
            <a:lvl1pPr algn="l">
              <a:defRPr sz="800" b="0"/>
            </a:lvl1pPr>
            <a:lvl2pPr algn="r">
              <a:defRPr sz="1000" b="0"/>
            </a:lvl2pPr>
            <a:lvl3pPr algn="r">
              <a:defRPr sz="1000" b="0"/>
            </a:lvl3pPr>
            <a:lvl4pPr algn="r">
              <a:defRPr sz="1000" b="0"/>
            </a:lvl4pPr>
            <a:lvl5pPr algn="r">
              <a:defRPr sz="1000" b="0"/>
            </a:lvl5pPr>
          </a:lstStyle>
          <a:p>
            <a:pPr lvl="0"/>
            <a:r>
              <a:rPr lang="de-DE" dirty="0"/>
              <a:t>Platzhalter Lizenzhinweis</a:t>
            </a:r>
          </a:p>
        </p:txBody>
      </p:sp>
    </p:spTree>
    <p:extLst>
      <p:ext uri="{BB962C8B-B14F-4D97-AF65-F5344CB8AC3E}">
        <p14:creationId xmlns:p14="http://schemas.microsoft.com/office/powerpoint/2010/main" val="25772221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Inhalt und Bild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6219870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>
          <a:xfrm>
            <a:off x="410112" y="581314"/>
            <a:ext cx="6219870" cy="3999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7"/>
          </p:nvPr>
        </p:nvSpPr>
        <p:spPr>
          <a:xfrm>
            <a:off x="7045340" y="0"/>
            <a:ext cx="5146660" cy="6858000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10111" y="5705612"/>
            <a:ext cx="6220593" cy="422307"/>
          </a:xfrm>
          <a:solidFill>
            <a:srgbClr val="6EAB3E"/>
          </a:solidFill>
        </p:spPr>
        <p:txBody>
          <a:bodyPr wrap="square" lIns="144000" tIns="72000" rIns="144000" bIns="72000" anchor="b">
            <a:spAutoFit/>
          </a:bodyPr>
          <a:lstStyle>
            <a:lvl1pPr>
              <a:defRPr sz="1799" b="0" baseline="0"/>
            </a:lvl1pPr>
            <a:lvl2pPr>
              <a:defRPr sz="1799" b="0"/>
            </a:lvl2pPr>
            <a:lvl3pPr>
              <a:defRPr sz="1799" b="0"/>
            </a:lvl3pPr>
            <a:lvl4pPr>
              <a:defRPr sz="1799" b="0"/>
            </a:lvl4pPr>
            <a:lvl5pPr>
              <a:defRPr sz="1799" b="0"/>
            </a:lvl5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10040530" y="6225292"/>
            <a:ext cx="1742621" cy="479314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0F411C9C-D61A-4E41-B5D3-29A182EF1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849" y="6146446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9921CF9E-A6C0-E14D-BE23-566D00CE13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rot="5400000">
            <a:off x="8926260" y="3132565"/>
            <a:ext cx="5867630" cy="123079"/>
          </a:xfrm>
        </p:spPr>
        <p:txBody>
          <a:bodyPr wrap="square" anchor="b">
            <a:spAutoFit/>
          </a:bodyPr>
          <a:lstStyle>
            <a:lvl1pPr algn="l">
              <a:defRPr sz="800" b="0"/>
            </a:lvl1pPr>
            <a:lvl2pPr algn="r">
              <a:defRPr sz="1000" b="0"/>
            </a:lvl2pPr>
            <a:lvl3pPr algn="r">
              <a:defRPr sz="1000" b="0"/>
            </a:lvl3pPr>
            <a:lvl4pPr algn="r">
              <a:defRPr sz="1000" b="0"/>
            </a:lvl4pPr>
            <a:lvl5pPr algn="r">
              <a:defRPr sz="1000" b="0"/>
            </a:lvl5pPr>
          </a:lstStyle>
          <a:p>
            <a:pPr lvl="0"/>
            <a:r>
              <a:rPr lang="de-DE" dirty="0"/>
              <a:t>Platzhalter Lizenzhinweis</a:t>
            </a:r>
          </a:p>
        </p:txBody>
      </p:sp>
    </p:spTree>
    <p:extLst>
      <p:ext uri="{BB962C8B-B14F-4D97-AF65-F5344CB8AC3E}">
        <p14:creationId xmlns:p14="http://schemas.microsoft.com/office/powerpoint/2010/main" val="347478185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>
            <a:extLst>
              <a:ext uri="{FF2B5EF4-FFF2-40B4-BE49-F238E27FC236}">
                <a16:creationId xmlns:a16="http://schemas.microsoft.com/office/drawing/2014/main" id="{4412A0C9-AEF6-CB4E-8F1C-8665FC51AC6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79400" y="531188"/>
            <a:ext cx="11636550" cy="40001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3" name="Bildplatzhalter 2">
            <a:extLst>
              <a:ext uri="{FF2B5EF4-FFF2-40B4-BE49-F238E27FC236}">
                <a16:creationId xmlns:a16="http://schemas.microsoft.com/office/drawing/2014/main" id="{17D06C25-497B-0B4F-8CFF-D6BD8FCADC9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39950" y="1211043"/>
            <a:ext cx="2253136" cy="225320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Bildplatzhalter 2">
            <a:extLst>
              <a:ext uri="{FF2B5EF4-FFF2-40B4-BE49-F238E27FC236}">
                <a16:creationId xmlns:a16="http://schemas.microsoft.com/office/drawing/2014/main" id="{1206FE2D-9C5B-1442-8D26-D25E6A007B6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731887" y="1211043"/>
            <a:ext cx="2253136" cy="225320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Bildplatzhalter 2">
            <a:extLst>
              <a:ext uri="{FF2B5EF4-FFF2-40B4-BE49-F238E27FC236}">
                <a16:creationId xmlns:a16="http://schemas.microsoft.com/office/drawing/2014/main" id="{B8B77D2E-FC3B-8142-878B-F3F87C7A93D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256074" y="1211043"/>
            <a:ext cx="2253136" cy="225320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0" name="Bildplatzhalter 2">
            <a:extLst>
              <a:ext uri="{FF2B5EF4-FFF2-40B4-BE49-F238E27FC236}">
                <a16:creationId xmlns:a16="http://schemas.microsoft.com/office/drawing/2014/main" id="{75216471-92C6-9140-B354-B551AC3D6D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748012" y="1211043"/>
            <a:ext cx="2253136" cy="225320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1" name="Bildplatzhalter 2">
            <a:extLst>
              <a:ext uri="{FF2B5EF4-FFF2-40B4-BE49-F238E27FC236}">
                <a16:creationId xmlns:a16="http://schemas.microsoft.com/office/drawing/2014/main" id="{886B7E4F-CA98-9B49-9155-A18AC8E30D7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39950" y="3709824"/>
            <a:ext cx="2253136" cy="225320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Bildplatzhalter 2">
            <a:extLst>
              <a:ext uri="{FF2B5EF4-FFF2-40B4-BE49-F238E27FC236}">
                <a16:creationId xmlns:a16="http://schemas.microsoft.com/office/drawing/2014/main" id="{FF7315B6-AC1E-7044-87D6-1352EFBD21C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31887" y="3709824"/>
            <a:ext cx="2253136" cy="225320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3" name="Bildplatzhalter 2">
            <a:extLst>
              <a:ext uri="{FF2B5EF4-FFF2-40B4-BE49-F238E27FC236}">
                <a16:creationId xmlns:a16="http://schemas.microsoft.com/office/drawing/2014/main" id="{590989CE-B18C-1849-9CEB-FCF19A66E6E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256074" y="3709824"/>
            <a:ext cx="2253136" cy="225320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4" name="Bildplatzhalter 2">
            <a:extLst>
              <a:ext uri="{FF2B5EF4-FFF2-40B4-BE49-F238E27FC236}">
                <a16:creationId xmlns:a16="http://schemas.microsoft.com/office/drawing/2014/main" id="{71B4A00E-C4B9-1C49-8100-3CF4207825F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748012" y="3709824"/>
            <a:ext cx="2253136" cy="225320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Fußzeilenplatzhalter 19">
            <a:extLst>
              <a:ext uri="{FF2B5EF4-FFF2-40B4-BE49-F238E27FC236}">
                <a16:creationId xmlns:a16="http://schemas.microsoft.com/office/drawing/2014/main" id="{04E6CD8E-80A0-FF43-B8EE-657230FD8BC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24790" y="6550753"/>
            <a:ext cx="6298360" cy="153852"/>
          </a:xfrm>
        </p:spPr>
        <p:txBody>
          <a:bodyPr/>
          <a:lstStyle/>
          <a:p>
            <a:r>
              <a:rPr lang="de-DE">
                <a:solidFill>
                  <a:prstClr val="white"/>
                </a:solidFill>
              </a:rPr>
              <a:t>31.05.2022 | eBaseCamp Symposium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37" name="Foliennummernplatzhalter 20">
            <a:extLst>
              <a:ext uri="{FF2B5EF4-FFF2-40B4-BE49-F238E27FC236}">
                <a16:creationId xmlns:a16="http://schemas.microsoft.com/office/drawing/2014/main" id="{A1047598-BAAC-4540-8007-9545AE9285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1946" y="6550753"/>
            <a:ext cx="258016" cy="153852"/>
          </a:xfrm>
        </p:spPr>
        <p:txBody>
          <a:bodyPr/>
          <a:lstStyle/>
          <a:p>
            <a:fld id="{B6B0D566-ED6B-40D1-A5F4-F0A17A88C115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FED26159-BE37-3446-B0AE-1F6EC412C0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40530" y="6225292"/>
            <a:ext cx="1742621" cy="479314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2141135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folie V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EC92FFFF-0A5D-894F-A2D6-D68AF4853A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pic>
        <p:nvPicPr>
          <p:cNvPr id="15" name="Bild 1">
            <a:extLst>
              <a:ext uri="{FF2B5EF4-FFF2-40B4-BE49-F238E27FC236}">
                <a16:creationId xmlns:a16="http://schemas.microsoft.com/office/drawing/2014/main" id="{053B0F61-57B1-394F-B174-AF97243C44F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1974" y="566586"/>
            <a:ext cx="12190026" cy="629141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13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586"/>
            <a:ext cx="12190026" cy="6291414"/>
          </a:xfrm>
          <a:prstGeom prst="rect">
            <a:avLst/>
          </a:prstGeom>
        </p:spPr>
      </p:pic>
      <p:sp>
        <p:nvSpPr>
          <p:cNvPr id="12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452693" y="2709167"/>
            <a:ext cx="1439625" cy="1439667"/>
          </a:xfrm>
          <a:solidFill>
            <a:schemeClr val="bg1"/>
          </a:solidFill>
          <a:ln w="12700">
            <a:noFill/>
          </a:ln>
        </p:spPr>
        <p:txBody>
          <a:bodyPr lIns="36000" tIns="36000" rIns="36000" bIns="36000" anchor="ctr">
            <a:noAutofit/>
          </a:bodyPr>
          <a:lstStyle>
            <a:lvl1pPr algn="ctr">
              <a:defRPr sz="6598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2892318" y="2709087"/>
            <a:ext cx="7845957" cy="1439747"/>
          </a:xfrm>
          <a:solidFill>
            <a:schemeClr val="accent3"/>
          </a:solidFill>
        </p:spPr>
        <p:txBody>
          <a:bodyPr wrap="square" lIns="360000" anchor="ctr">
            <a:noAutofit/>
          </a:bodyPr>
          <a:lstStyle>
            <a:lvl1pPr>
              <a:spcBef>
                <a:spcPts val="400"/>
              </a:spcBef>
              <a:defRPr sz="3199" b="1"/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3609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folie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47ED4455-CC20-004F-9919-6908282E015B}"/>
              </a:ext>
            </a:extLst>
          </p:cNvPr>
          <p:cNvSpPr/>
          <p:nvPr/>
        </p:nvSpPr>
        <p:spPr>
          <a:xfrm>
            <a:off x="7065878" y="0"/>
            <a:ext cx="5126121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pic>
        <p:nvPicPr>
          <p:cNvPr id="16" name="Bild 1">
            <a:extLst>
              <a:ext uri="{FF2B5EF4-FFF2-40B4-BE49-F238E27FC236}">
                <a16:creationId xmlns:a16="http://schemas.microsoft.com/office/drawing/2014/main" id="{1067E090-1CF9-ED45-B7E4-4EBA3541CFD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5878" y="566586"/>
            <a:ext cx="5124148" cy="629141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92493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 1">
            <a:extLst>
              <a:ext uri="{FF2B5EF4-FFF2-40B4-BE49-F238E27FC236}">
                <a16:creationId xmlns:a16="http://schemas.microsoft.com/office/drawing/2014/main" id="{439705D0-0E9E-5546-8279-EB9CE1B9C80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7854" y="566586"/>
            <a:ext cx="5122171" cy="6291414"/>
          </a:xfrm>
          <a:prstGeom prst="rect">
            <a:avLst/>
          </a:prstGeom>
        </p:spPr>
      </p:pic>
      <p:sp>
        <p:nvSpPr>
          <p:cNvPr id="12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6239978" y="2601192"/>
            <a:ext cx="1655569" cy="1655617"/>
          </a:xfrm>
          <a:solidFill>
            <a:schemeClr val="accent3"/>
          </a:solidFill>
          <a:ln w="12700">
            <a:solidFill>
              <a:schemeClr val="bg1"/>
            </a:solidFill>
          </a:ln>
        </p:spPr>
        <p:txBody>
          <a:bodyPr lIns="36000" tIns="36000" rIns="36000" bIns="36000" anchor="ctr">
            <a:noAutofit/>
          </a:bodyPr>
          <a:lstStyle>
            <a:lvl1pPr algn="ctr">
              <a:defRPr sz="65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09468" y="2936672"/>
            <a:ext cx="5828534" cy="984657"/>
          </a:xfrm>
          <a:noFill/>
          <a:ln>
            <a:noFill/>
          </a:ln>
        </p:spPr>
        <p:txBody>
          <a:bodyPr wrap="square" lIns="0" rIns="360000" anchor="ctr">
            <a:spAutoFit/>
          </a:bodyPr>
          <a:lstStyle>
            <a:lvl1pPr>
              <a:spcBef>
                <a:spcPts val="400"/>
              </a:spcBef>
              <a:defRPr sz="3199" b="1">
                <a:solidFill>
                  <a:schemeClr val="accent3"/>
                </a:solidFill>
              </a:defRPr>
            </a:lvl1pPr>
            <a:lvl2pPr>
              <a:spcBef>
                <a:spcPts val="400"/>
              </a:spcBef>
              <a:defRPr sz="1600" baseline="0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de-DE" dirty="0"/>
              <a:t>Kapitelthema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9F424837-F8B5-6C4C-8337-716D5ADB818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24790" y="6550753"/>
            <a:ext cx="6298360" cy="153852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FCD4FF45-CD1F-1247-94DC-D0E5284342A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291946" y="6550753"/>
            <a:ext cx="258016" cy="153852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5552C727-7F6F-44A3-9913-74F88EEB8F2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5321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754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10112" y="1233202"/>
            <a:ext cx="11373038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7158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552C727-7F6F-44A3-9913-74F88EEB8F23}" type="slidenum">
              <a:rPr lang="en-US" smtClean="0"/>
              <a:t>‹Nr.›</a:t>
            </a:fld>
            <a:endParaRPr lang="en-US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45D2B80-D771-604E-B4CF-762034AFDD7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1231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Inhal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>
          <a:xfrm>
            <a:off x="408848" y="1233202"/>
            <a:ext cx="5542107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12"/>
          <p:cNvSpPr>
            <a:spLocks noGrp="1"/>
          </p:cNvSpPr>
          <p:nvPr>
            <p:ph sz="quarter" idx="15"/>
          </p:nvPr>
        </p:nvSpPr>
        <p:spPr>
          <a:xfrm>
            <a:off x="6240425" y="1233202"/>
            <a:ext cx="5542107" cy="489471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0112" y="6146445"/>
            <a:ext cx="11373038" cy="184623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indent="0">
              <a:spcBef>
                <a:spcPts val="0"/>
              </a:spcBef>
              <a:buNone/>
            </a:pPr>
            <a:r>
              <a:rPr lang="de-DE" sz="1200" dirty="0"/>
              <a:t>Quelle: Platzhalter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552C727-7F6F-44A3-9913-74F88EEB8F23}" type="slidenum">
              <a:rPr lang="en-US" smtClean="0"/>
              <a:t>‹Nr.›</a:t>
            </a:fld>
            <a:endParaRPr lang="en-US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948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oleObject" Target="../embeddings/oleObject16.bin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19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vmlDrawing" Target="../drawings/vmlDrawing19.v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2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slideLayout" Target="../slideLayouts/slideLayout30.xml"/><Relationship Id="rId7" Type="http://schemas.openxmlformats.org/officeDocument/2006/relationships/vmlDrawing" Target="../drawings/vmlDrawing29.v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3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1.xml"/><Relationship Id="rId9" Type="http://schemas.openxmlformats.org/officeDocument/2006/relationships/oleObject" Target="../embeddings/oleObject2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4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6" Type="http://schemas.openxmlformats.org/officeDocument/2006/relationships/oleObject" Target="../embeddings/oleObject31.bin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35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vmlDrawing" Target="../drawings/vmlDrawing35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tags" Target="../tags/tag47.xml"/><Relationship Id="rId3" Type="http://schemas.openxmlformats.org/officeDocument/2006/relationships/slideLayout" Target="../slideLayouts/slideLayout47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vmlDrawing" Target="../drawings/vmlDrawing47.vml"/><Relationship Id="rId2" Type="http://schemas.openxmlformats.org/officeDocument/2006/relationships/slideLayout" Target="../slideLayouts/slideLayout46.xml"/><Relationship Id="rId16" Type="http://schemas.openxmlformats.org/officeDocument/2006/relationships/theme" Target="../theme/theme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oleObject" Target="../embeddings/oleObject43.bin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03709767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22" imgW="344" imgH="345" progId="TCLayout.ActiveDocument.1">
                  <p:embed/>
                </p:oleObj>
              </mc:Choice>
              <mc:Fallback>
                <p:oleObj name="think-cell Folie" r:id="rId22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10112" y="578992"/>
            <a:ext cx="11373038" cy="39998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8849" y="1233203"/>
            <a:ext cx="11373038" cy="48929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4790" y="6550753"/>
            <a:ext cx="6298360" cy="15385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91946" y="6550753"/>
            <a:ext cx="258016" cy="15385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5552C727-7F6F-44A3-9913-74F88EEB8F23}" type="slidenum">
              <a:rPr lang="en-US" smtClean="0"/>
              <a:t>‹Nr.›</a:t>
            </a:fld>
            <a:endParaRPr lang="en-U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EC397A1-67AA-7B40-A252-FD0366F420AA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87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9" r:id="rId18"/>
  </p:sldLayoutIdLst>
  <p:txStyles>
    <p:titleStyle>
      <a:lvl1pPr algn="l" defTabSz="1219078" rtl="0" eaLnBrk="1" latinLnBrk="0" hangingPunct="1">
        <a:spcBef>
          <a:spcPct val="0"/>
        </a:spcBef>
        <a:buNone/>
        <a:defRPr sz="2599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219078" rtl="0" eaLnBrk="1" latinLnBrk="0" hangingPunct="1">
        <a:spcBef>
          <a:spcPts val="1000"/>
        </a:spcBef>
        <a:buFont typeface="Arial" panose="020B0604020202020204" pitchFamily="34" charset="0"/>
        <a:buNone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1219078" rtl="0" eaLnBrk="1" latinLnBrk="0" hangingPunct="1">
        <a:spcBef>
          <a:spcPts val="800"/>
        </a:spcBef>
        <a:buFont typeface="Arial" panose="020B0604020202020204" pitchFamily="34" charset="0"/>
        <a:buNone/>
        <a:defRPr sz="1799" kern="1200">
          <a:solidFill>
            <a:schemeClr val="bg1"/>
          </a:solidFill>
          <a:latin typeface="+mn-lt"/>
          <a:ea typeface="+mn-ea"/>
          <a:cs typeface="+mn-cs"/>
        </a:defRPr>
      </a:lvl2pPr>
      <a:lvl3pPr marL="179946" indent="-179946" algn="l" defTabSz="1219078" rtl="0" eaLnBrk="1" latinLnBrk="0" hangingPunct="1">
        <a:spcBef>
          <a:spcPts val="600"/>
        </a:spcBef>
        <a:buFont typeface="Symbol" panose="05050102010706020507" pitchFamily="18" charset="2"/>
        <a:buChar char="-"/>
        <a:defRPr sz="1799" kern="1200">
          <a:solidFill>
            <a:schemeClr val="bg1"/>
          </a:solidFill>
          <a:latin typeface="+mn-lt"/>
          <a:ea typeface="+mn-ea"/>
          <a:cs typeface="+mn-cs"/>
        </a:defRPr>
      </a:lvl3pPr>
      <a:lvl4pPr marL="359892" indent="-179946" algn="l" defTabSz="1219078" rtl="0" eaLnBrk="1" latinLnBrk="0" hangingPunct="1">
        <a:spcBef>
          <a:spcPts val="400"/>
        </a:spcBef>
        <a:buFont typeface="Symbol" panose="05050102010706020507" pitchFamily="18" charset="2"/>
        <a:buChar char="-"/>
        <a:defRPr sz="1799" kern="1200">
          <a:solidFill>
            <a:schemeClr val="bg1"/>
          </a:solidFill>
          <a:latin typeface="+mn-lt"/>
          <a:ea typeface="+mn-ea"/>
          <a:cs typeface="+mn-cs"/>
        </a:defRPr>
      </a:lvl4pPr>
      <a:lvl5pPr marL="539838" indent="-179946" algn="l" defTabSz="1219078" rtl="0" eaLnBrk="1" latinLnBrk="0" hangingPunct="1">
        <a:spcBef>
          <a:spcPts val="0"/>
        </a:spcBef>
        <a:buFont typeface="Symbol" panose="05050102010706020507" pitchFamily="18" charset="2"/>
        <a:buChar char="-"/>
        <a:defRPr sz="1799" kern="1200">
          <a:solidFill>
            <a:schemeClr val="bg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3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2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1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8">
          <p15:clr>
            <a:srgbClr val="F26B43"/>
          </p15:clr>
        </p15:guide>
        <p15:guide id="2" orient="horz" pos="2319">
          <p15:clr>
            <a:srgbClr val="F26B43"/>
          </p15:clr>
        </p15:guide>
        <p15:guide id="3" pos="7424">
          <p15:clr>
            <a:srgbClr val="F26B43"/>
          </p15:clr>
        </p15:guide>
        <p15:guide id="4" pos="3750">
          <p15:clr>
            <a:srgbClr val="F26B43"/>
          </p15:clr>
        </p15:guide>
        <p15:guide id="5" pos="3932">
          <p15:clr>
            <a:srgbClr val="F26B43"/>
          </p15:clr>
        </p15:guide>
        <p15:guide id="6" pos="2526">
          <p15:clr>
            <a:srgbClr val="F26B43"/>
          </p15:clr>
        </p15:guide>
        <p15:guide id="7" pos="2707">
          <p15:clr>
            <a:srgbClr val="F26B43"/>
          </p15:clr>
        </p15:guide>
        <p15:guide id="8" pos="4975">
          <p15:clr>
            <a:srgbClr val="F26B43"/>
          </p15:clr>
        </p15:guide>
        <p15:guide id="9" pos="5156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orient="horz" pos="3861">
          <p15:clr>
            <a:srgbClr val="F26B43"/>
          </p15:clr>
        </p15:guide>
        <p15:guide id="12" orient="horz" pos="777">
          <p15:clr>
            <a:srgbClr val="F26B43"/>
          </p15:clr>
        </p15:guide>
        <p15:guide id="13" orient="horz" pos="61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3867499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10112" y="581278"/>
            <a:ext cx="11373038" cy="40001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8849" y="1233203"/>
            <a:ext cx="11373038" cy="48929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4790" y="6550753"/>
            <a:ext cx="6298360" cy="15385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91946" y="6550753"/>
            <a:ext cx="258016" cy="15385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17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</p:sldLayoutIdLst>
  <p:hf hdr="0" dt="0"/>
  <p:txStyles>
    <p:titleStyle>
      <a:lvl1pPr algn="l" defTabSz="1219078" rtl="0" eaLnBrk="1" latinLnBrk="0" hangingPunct="1">
        <a:spcBef>
          <a:spcPct val="0"/>
        </a:spcBef>
        <a:buNone/>
        <a:defRPr sz="2599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219078" rtl="0" eaLnBrk="1" latinLnBrk="0" hangingPunct="1">
        <a:spcBef>
          <a:spcPts val="1000"/>
        </a:spcBef>
        <a:buFont typeface="Arial" panose="020B0604020202020204" pitchFamily="34" charset="0"/>
        <a:buNone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1219078" rtl="0" eaLnBrk="1" latinLnBrk="0" hangingPunct="1">
        <a:spcBef>
          <a:spcPts val="800"/>
        </a:spcBef>
        <a:buFont typeface="Arial" panose="020B0604020202020204" pitchFamily="34" charset="0"/>
        <a:buNone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179946" indent="-179946" algn="l" defTabSz="1219078" rtl="0" eaLnBrk="1" latinLnBrk="0" hangingPunct="1">
        <a:spcBef>
          <a:spcPts val="600"/>
        </a:spcBef>
        <a:buFont typeface="Symbol" panose="05050102010706020507" pitchFamily="18" charset="2"/>
        <a:buChar char="-"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3pPr>
      <a:lvl4pPr marL="359892" indent="-179946" algn="l" defTabSz="1219078" rtl="0" eaLnBrk="1" latinLnBrk="0" hangingPunct="1">
        <a:spcBef>
          <a:spcPts val="400"/>
        </a:spcBef>
        <a:buFont typeface="Symbol" panose="05050102010706020507" pitchFamily="18" charset="2"/>
        <a:buChar char="-"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4pPr>
      <a:lvl5pPr marL="539838" indent="-179946" algn="l" defTabSz="1219078" rtl="0" eaLnBrk="1" latinLnBrk="0" hangingPunct="1">
        <a:spcBef>
          <a:spcPts val="0"/>
        </a:spcBef>
        <a:buFont typeface="Symbol" panose="05050102010706020507" pitchFamily="18" charset="2"/>
        <a:buChar char="-"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3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2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1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8">
          <p15:clr>
            <a:srgbClr val="F26B43"/>
          </p15:clr>
        </p15:guide>
        <p15:guide id="2" orient="horz" pos="2319">
          <p15:clr>
            <a:srgbClr val="F26B43"/>
          </p15:clr>
        </p15:guide>
        <p15:guide id="3" pos="7424">
          <p15:clr>
            <a:srgbClr val="F26B43"/>
          </p15:clr>
        </p15:guide>
        <p15:guide id="4" pos="3750">
          <p15:clr>
            <a:srgbClr val="F26B43"/>
          </p15:clr>
        </p15:guide>
        <p15:guide id="5" pos="3932">
          <p15:clr>
            <a:srgbClr val="F26B43"/>
          </p15:clr>
        </p15:guide>
        <p15:guide id="6" pos="2526">
          <p15:clr>
            <a:srgbClr val="F26B43"/>
          </p15:clr>
        </p15:guide>
        <p15:guide id="7" pos="2707">
          <p15:clr>
            <a:srgbClr val="F26B43"/>
          </p15:clr>
        </p15:guide>
        <p15:guide id="8" pos="4975">
          <p15:clr>
            <a:srgbClr val="F26B43"/>
          </p15:clr>
        </p15:guide>
        <p15:guide id="9" pos="5156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orient="horz" pos="3861">
          <p15:clr>
            <a:srgbClr val="F26B43"/>
          </p15:clr>
        </p15:guide>
        <p15:guide id="12" orient="horz" pos="777">
          <p15:clr>
            <a:srgbClr val="F26B43"/>
          </p15:clr>
        </p15:guide>
        <p15:guide id="13" orient="horz" pos="61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10112" y="581278"/>
            <a:ext cx="11373038" cy="40001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8849" y="1233203"/>
            <a:ext cx="11373038" cy="48929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4790" y="6550753"/>
            <a:ext cx="6298360" cy="15385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91946" y="6550753"/>
            <a:ext cx="258016" cy="15385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957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</p:sldLayoutIdLst>
  <p:hf hdr="0" dt="0"/>
  <p:txStyles>
    <p:titleStyle>
      <a:lvl1pPr algn="l" defTabSz="1219078" rtl="0" eaLnBrk="1" latinLnBrk="0" hangingPunct="1">
        <a:spcBef>
          <a:spcPct val="0"/>
        </a:spcBef>
        <a:buNone/>
        <a:defRPr sz="2599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219078" rtl="0" eaLnBrk="1" latinLnBrk="0" hangingPunct="1">
        <a:spcBef>
          <a:spcPts val="1000"/>
        </a:spcBef>
        <a:buFont typeface="Arial" panose="020B0604020202020204" pitchFamily="34" charset="0"/>
        <a:buNone/>
        <a:defRPr sz="1999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1219078" rtl="0" eaLnBrk="1" latinLnBrk="0" hangingPunct="1">
        <a:spcBef>
          <a:spcPts val="800"/>
        </a:spcBef>
        <a:buFont typeface="Arial" panose="020B0604020202020204" pitchFamily="34" charset="0"/>
        <a:buNone/>
        <a:defRPr sz="1999" kern="1200">
          <a:solidFill>
            <a:schemeClr val="bg1"/>
          </a:solidFill>
          <a:latin typeface="+mn-lt"/>
          <a:ea typeface="+mn-ea"/>
          <a:cs typeface="+mn-cs"/>
        </a:defRPr>
      </a:lvl2pPr>
      <a:lvl3pPr marL="179946" indent="-179946" algn="l" defTabSz="1219078" rtl="0" eaLnBrk="1" latinLnBrk="0" hangingPunct="1">
        <a:spcBef>
          <a:spcPts val="600"/>
        </a:spcBef>
        <a:buFont typeface="Symbol" panose="05050102010706020507" pitchFamily="18" charset="2"/>
        <a:buChar char="-"/>
        <a:defRPr sz="1999" kern="1200">
          <a:solidFill>
            <a:schemeClr val="bg1"/>
          </a:solidFill>
          <a:latin typeface="+mn-lt"/>
          <a:ea typeface="+mn-ea"/>
          <a:cs typeface="+mn-cs"/>
        </a:defRPr>
      </a:lvl3pPr>
      <a:lvl4pPr marL="359892" indent="-179946" algn="l" defTabSz="1219078" rtl="0" eaLnBrk="1" latinLnBrk="0" hangingPunct="1">
        <a:spcBef>
          <a:spcPts val="400"/>
        </a:spcBef>
        <a:buFont typeface="Symbol" panose="05050102010706020507" pitchFamily="18" charset="2"/>
        <a:buChar char="-"/>
        <a:defRPr sz="1999" kern="1200">
          <a:solidFill>
            <a:schemeClr val="bg1"/>
          </a:solidFill>
          <a:latin typeface="+mn-lt"/>
          <a:ea typeface="+mn-ea"/>
          <a:cs typeface="+mn-cs"/>
        </a:defRPr>
      </a:lvl4pPr>
      <a:lvl5pPr marL="539838" indent="-179946" algn="l" defTabSz="1219078" rtl="0" eaLnBrk="1" latinLnBrk="0" hangingPunct="1">
        <a:spcBef>
          <a:spcPts val="0"/>
        </a:spcBef>
        <a:buFont typeface="Symbol" panose="05050102010706020507" pitchFamily="18" charset="2"/>
        <a:buChar char="-"/>
        <a:defRPr sz="1999" kern="1200">
          <a:solidFill>
            <a:schemeClr val="bg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3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2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1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8">
          <p15:clr>
            <a:srgbClr val="F26B43"/>
          </p15:clr>
        </p15:guide>
        <p15:guide id="2" orient="horz" pos="2319">
          <p15:clr>
            <a:srgbClr val="F26B43"/>
          </p15:clr>
        </p15:guide>
        <p15:guide id="3" pos="7424">
          <p15:clr>
            <a:srgbClr val="F26B43"/>
          </p15:clr>
        </p15:guide>
        <p15:guide id="4" pos="3750">
          <p15:clr>
            <a:srgbClr val="F26B43"/>
          </p15:clr>
        </p15:guide>
        <p15:guide id="5" pos="3932">
          <p15:clr>
            <a:srgbClr val="F26B43"/>
          </p15:clr>
        </p15:guide>
        <p15:guide id="6" pos="2526">
          <p15:clr>
            <a:srgbClr val="F26B43"/>
          </p15:clr>
        </p15:guide>
        <p15:guide id="7" pos="2707">
          <p15:clr>
            <a:srgbClr val="F26B43"/>
          </p15:clr>
        </p15:guide>
        <p15:guide id="8" pos="4975">
          <p15:clr>
            <a:srgbClr val="F26B43"/>
          </p15:clr>
        </p15:guide>
        <p15:guide id="9" pos="5156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orient="horz" pos="3861">
          <p15:clr>
            <a:srgbClr val="F26B43"/>
          </p15:clr>
        </p15:guide>
        <p15:guide id="12" orient="horz" pos="777">
          <p15:clr>
            <a:srgbClr val="F26B43"/>
          </p15:clr>
        </p15:guide>
        <p15:guide id="13" orient="horz" pos="61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Folie" r:id="rId16" imgW="344" imgH="345" progId="TCLayout.ActiveDocument.1">
                  <p:embed/>
                </p:oleObj>
              </mc:Choice>
              <mc:Fallback>
                <p:oleObj name="think-cell Folie" r:id="rId16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10112" y="581278"/>
            <a:ext cx="11373038" cy="40001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8849" y="1233203"/>
            <a:ext cx="11373038" cy="48929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4790" y="6550753"/>
            <a:ext cx="6298360" cy="15385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91946" y="6550753"/>
            <a:ext cx="258016" cy="15385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EC397A1-67AA-7B40-A252-FD0366F420AA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009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hf hdr="0" dt="0"/>
  <p:txStyles>
    <p:titleStyle>
      <a:lvl1pPr algn="l" defTabSz="1219078" rtl="0" eaLnBrk="1" latinLnBrk="0" hangingPunct="1">
        <a:spcBef>
          <a:spcPct val="0"/>
        </a:spcBef>
        <a:buNone/>
        <a:defRPr sz="2599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219078" rtl="0" eaLnBrk="1" latinLnBrk="0" hangingPunct="1">
        <a:spcBef>
          <a:spcPts val="1000"/>
        </a:spcBef>
        <a:buFont typeface="Arial" panose="020B0604020202020204" pitchFamily="34" charset="0"/>
        <a:buNone/>
        <a:defRPr sz="1999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1219078" rtl="0" eaLnBrk="1" latinLnBrk="0" hangingPunct="1">
        <a:spcBef>
          <a:spcPts val="800"/>
        </a:spcBef>
        <a:buFont typeface="Arial" panose="020B0604020202020204" pitchFamily="34" charset="0"/>
        <a:buNone/>
        <a:defRPr sz="1999" kern="1200">
          <a:solidFill>
            <a:schemeClr val="bg1"/>
          </a:solidFill>
          <a:latin typeface="+mn-lt"/>
          <a:ea typeface="+mn-ea"/>
          <a:cs typeface="+mn-cs"/>
        </a:defRPr>
      </a:lvl2pPr>
      <a:lvl3pPr marL="179946" indent="-179946" algn="l" defTabSz="1219078" rtl="0" eaLnBrk="1" latinLnBrk="0" hangingPunct="1">
        <a:spcBef>
          <a:spcPts val="600"/>
        </a:spcBef>
        <a:buFont typeface="Symbol" panose="05050102010706020507" pitchFamily="18" charset="2"/>
        <a:buChar char="-"/>
        <a:defRPr sz="1999" kern="1200">
          <a:solidFill>
            <a:schemeClr val="bg1"/>
          </a:solidFill>
          <a:latin typeface="+mn-lt"/>
          <a:ea typeface="+mn-ea"/>
          <a:cs typeface="+mn-cs"/>
        </a:defRPr>
      </a:lvl3pPr>
      <a:lvl4pPr marL="359892" indent="-179946" algn="l" defTabSz="1219078" rtl="0" eaLnBrk="1" latinLnBrk="0" hangingPunct="1">
        <a:spcBef>
          <a:spcPts val="400"/>
        </a:spcBef>
        <a:buFont typeface="Symbol" panose="05050102010706020507" pitchFamily="18" charset="2"/>
        <a:buChar char="-"/>
        <a:defRPr sz="1999" kern="1200">
          <a:solidFill>
            <a:schemeClr val="bg1"/>
          </a:solidFill>
          <a:latin typeface="+mn-lt"/>
          <a:ea typeface="+mn-ea"/>
          <a:cs typeface="+mn-cs"/>
        </a:defRPr>
      </a:lvl4pPr>
      <a:lvl5pPr marL="539838" indent="-179946" algn="l" defTabSz="1219078" rtl="0" eaLnBrk="1" latinLnBrk="0" hangingPunct="1">
        <a:spcBef>
          <a:spcPts val="0"/>
        </a:spcBef>
        <a:buFont typeface="Symbol" panose="05050102010706020507" pitchFamily="18" charset="2"/>
        <a:buChar char="-"/>
        <a:defRPr sz="1999" kern="1200">
          <a:solidFill>
            <a:schemeClr val="bg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3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2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1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8">
          <p15:clr>
            <a:srgbClr val="F26B43"/>
          </p15:clr>
        </p15:guide>
        <p15:guide id="2" orient="horz" pos="2319">
          <p15:clr>
            <a:srgbClr val="F26B43"/>
          </p15:clr>
        </p15:guide>
        <p15:guide id="3" pos="7424">
          <p15:clr>
            <a:srgbClr val="F26B43"/>
          </p15:clr>
        </p15:guide>
        <p15:guide id="4" pos="3750">
          <p15:clr>
            <a:srgbClr val="F26B43"/>
          </p15:clr>
        </p15:guide>
        <p15:guide id="5" pos="3932">
          <p15:clr>
            <a:srgbClr val="F26B43"/>
          </p15:clr>
        </p15:guide>
        <p15:guide id="6" pos="2526">
          <p15:clr>
            <a:srgbClr val="F26B43"/>
          </p15:clr>
        </p15:guide>
        <p15:guide id="7" pos="2707">
          <p15:clr>
            <a:srgbClr val="F26B43"/>
          </p15:clr>
        </p15:guide>
        <p15:guide id="8" pos="4975">
          <p15:clr>
            <a:srgbClr val="F26B43"/>
          </p15:clr>
        </p15:guide>
        <p15:guide id="9" pos="5156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orient="horz" pos="3861">
          <p15:clr>
            <a:srgbClr val="F26B43"/>
          </p15:clr>
        </p15:guide>
        <p15:guide id="12" orient="horz" pos="777">
          <p15:clr>
            <a:srgbClr val="F26B43"/>
          </p15:clr>
        </p15:guide>
        <p15:guide id="13" orient="horz" pos="61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Folie" r:id="rId19" imgW="344" imgH="345" progId="TCLayout.ActiveDocument.1">
                  <p:embed/>
                </p:oleObj>
              </mc:Choice>
              <mc:Fallback>
                <p:oleObj name="think-cell Folie" r:id="rId19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99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10112" y="581278"/>
            <a:ext cx="11373038" cy="40001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8849" y="1233203"/>
            <a:ext cx="11373038" cy="48929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4790" y="6550753"/>
            <a:ext cx="6298360" cy="15385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31.05.2022 | eBaseCamp Symposium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91946" y="6550753"/>
            <a:ext cx="258016" cy="15385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B6B0D566-ED6B-40D1-A5F4-F0A17A88C11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EC397A1-67AA-7B40-A252-FD0366F420AA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1146" y="6225916"/>
            <a:ext cx="1742004" cy="4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897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</p:sldLayoutIdLst>
  <p:hf hdr="0" dt="0"/>
  <p:txStyles>
    <p:titleStyle>
      <a:lvl1pPr algn="l" defTabSz="1219078" rtl="0" eaLnBrk="1" latinLnBrk="0" hangingPunct="1">
        <a:spcBef>
          <a:spcPct val="0"/>
        </a:spcBef>
        <a:buNone/>
        <a:defRPr sz="2599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219078" rtl="0" eaLnBrk="1" latinLnBrk="0" hangingPunct="1">
        <a:spcBef>
          <a:spcPts val="1000"/>
        </a:spcBef>
        <a:buFont typeface="Arial" panose="020B0604020202020204" pitchFamily="34" charset="0"/>
        <a:buNone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1219078" rtl="0" eaLnBrk="1" latinLnBrk="0" hangingPunct="1">
        <a:spcBef>
          <a:spcPts val="800"/>
        </a:spcBef>
        <a:buFont typeface="Arial" panose="020B0604020202020204" pitchFamily="34" charset="0"/>
        <a:buNone/>
        <a:defRPr sz="1799" kern="1200">
          <a:solidFill>
            <a:schemeClr val="bg1"/>
          </a:solidFill>
          <a:latin typeface="+mn-lt"/>
          <a:ea typeface="+mn-ea"/>
          <a:cs typeface="+mn-cs"/>
        </a:defRPr>
      </a:lvl2pPr>
      <a:lvl3pPr marL="179946" indent="-179946" algn="l" defTabSz="1219078" rtl="0" eaLnBrk="1" latinLnBrk="0" hangingPunct="1">
        <a:spcBef>
          <a:spcPts val="600"/>
        </a:spcBef>
        <a:buFont typeface="Symbol" panose="05050102010706020507" pitchFamily="18" charset="2"/>
        <a:buChar char="-"/>
        <a:defRPr sz="1799" kern="1200">
          <a:solidFill>
            <a:schemeClr val="bg1"/>
          </a:solidFill>
          <a:latin typeface="+mn-lt"/>
          <a:ea typeface="+mn-ea"/>
          <a:cs typeface="+mn-cs"/>
        </a:defRPr>
      </a:lvl3pPr>
      <a:lvl4pPr marL="359892" indent="-179946" algn="l" defTabSz="1219078" rtl="0" eaLnBrk="1" latinLnBrk="0" hangingPunct="1">
        <a:spcBef>
          <a:spcPts val="400"/>
        </a:spcBef>
        <a:buFont typeface="Symbol" panose="05050102010706020507" pitchFamily="18" charset="2"/>
        <a:buChar char="-"/>
        <a:defRPr sz="1799" kern="1200">
          <a:solidFill>
            <a:schemeClr val="bg1"/>
          </a:solidFill>
          <a:latin typeface="+mn-lt"/>
          <a:ea typeface="+mn-ea"/>
          <a:cs typeface="+mn-cs"/>
        </a:defRPr>
      </a:lvl4pPr>
      <a:lvl5pPr marL="539838" indent="-179946" algn="l" defTabSz="1219078" rtl="0" eaLnBrk="1" latinLnBrk="0" hangingPunct="1">
        <a:spcBef>
          <a:spcPts val="0"/>
        </a:spcBef>
        <a:buFont typeface="Symbol" panose="05050102010706020507" pitchFamily="18" charset="2"/>
        <a:buChar char="-"/>
        <a:defRPr sz="1799" kern="1200">
          <a:solidFill>
            <a:schemeClr val="bg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3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2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1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8">
          <p15:clr>
            <a:srgbClr val="F26B43"/>
          </p15:clr>
        </p15:guide>
        <p15:guide id="2" orient="horz" pos="2319">
          <p15:clr>
            <a:srgbClr val="F26B43"/>
          </p15:clr>
        </p15:guide>
        <p15:guide id="3" pos="7424">
          <p15:clr>
            <a:srgbClr val="F26B43"/>
          </p15:clr>
        </p15:guide>
        <p15:guide id="4" pos="3750">
          <p15:clr>
            <a:srgbClr val="F26B43"/>
          </p15:clr>
        </p15:guide>
        <p15:guide id="5" pos="3932">
          <p15:clr>
            <a:srgbClr val="F26B43"/>
          </p15:clr>
        </p15:guide>
        <p15:guide id="6" pos="2526">
          <p15:clr>
            <a:srgbClr val="F26B43"/>
          </p15:clr>
        </p15:guide>
        <p15:guide id="7" pos="2707">
          <p15:clr>
            <a:srgbClr val="F26B43"/>
          </p15:clr>
        </p15:guide>
        <p15:guide id="8" pos="4975">
          <p15:clr>
            <a:srgbClr val="F26B43"/>
          </p15:clr>
        </p15:guide>
        <p15:guide id="9" pos="5156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orient="horz" pos="3861">
          <p15:clr>
            <a:srgbClr val="F26B43"/>
          </p15:clr>
        </p15:guide>
        <p15:guide id="12" orient="horz" pos="777">
          <p15:clr>
            <a:srgbClr val="F26B43"/>
          </p15:clr>
        </p15:guide>
        <p15:guide id="13" orient="horz" pos="6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255A93F3-4DB7-4D8A-9648-106C13F9A2B1}"/>
              </a:ext>
            </a:extLst>
          </p:cNvPr>
          <p:cNvGraphicFramePr/>
          <p:nvPr/>
        </p:nvGraphicFramePr>
        <p:xfrm>
          <a:off x="-421980" y="1436132"/>
          <a:ext cx="5978603" cy="39857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2" name="Diagramm 21">
            <a:extLst>
              <a:ext uri="{FF2B5EF4-FFF2-40B4-BE49-F238E27FC236}">
                <a16:creationId xmlns:a16="http://schemas.microsoft.com/office/drawing/2014/main" id="{64D3A749-7187-452D-B18C-1EC18FFC40BB}"/>
              </a:ext>
            </a:extLst>
          </p:cNvPr>
          <p:cNvGraphicFramePr/>
          <p:nvPr/>
        </p:nvGraphicFramePr>
        <p:xfrm>
          <a:off x="5886822" y="1355961"/>
          <a:ext cx="6712750" cy="41460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5" name="Textfeld 24">
            <a:extLst>
              <a:ext uri="{FF2B5EF4-FFF2-40B4-BE49-F238E27FC236}">
                <a16:creationId xmlns:a16="http://schemas.microsoft.com/office/drawing/2014/main" id="{C252F293-1CB0-4C3A-A102-F026ACA8FFA2}"/>
              </a:ext>
            </a:extLst>
          </p:cNvPr>
          <p:cNvSpPr txBox="1"/>
          <p:nvPr/>
        </p:nvSpPr>
        <p:spPr>
          <a:xfrm>
            <a:off x="7374562" y="1528123"/>
            <a:ext cx="99630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200" b="1" dirty="0">
                <a:solidFill>
                  <a:schemeClr val="accent2"/>
                </a:solidFill>
              </a:rPr>
              <a:t>Public Transports</a:t>
            </a:r>
          </a:p>
        </p:txBody>
      </p:sp>
      <p:sp>
        <p:nvSpPr>
          <p:cNvPr id="27" name="Pfeil: nach rechts 26">
            <a:extLst>
              <a:ext uri="{FF2B5EF4-FFF2-40B4-BE49-F238E27FC236}">
                <a16:creationId xmlns:a16="http://schemas.microsoft.com/office/drawing/2014/main" id="{B2D69C17-0C61-4925-9243-269C24167583}"/>
              </a:ext>
            </a:extLst>
          </p:cNvPr>
          <p:cNvSpPr/>
          <p:nvPr/>
        </p:nvSpPr>
        <p:spPr>
          <a:xfrm>
            <a:off x="5470015" y="3127264"/>
            <a:ext cx="1251969" cy="603470"/>
          </a:xfrm>
          <a:prstGeom prst="rightArrow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46800" rIns="90000" bIns="46800" rtlCol="0" anchor="t">
            <a:noAutofit/>
          </a:bodyPr>
          <a:lstStyle/>
          <a:p>
            <a:pPr marL="180000" indent="-180000" algn="l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A3B1882-3585-4FF8-91CB-1AD70FF95DB5}"/>
              </a:ext>
            </a:extLst>
          </p:cNvPr>
          <p:cNvSpPr txBox="1"/>
          <p:nvPr/>
        </p:nvSpPr>
        <p:spPr>
          <a:xfrm>
            <a:off x="10024012" y="1528123"/>
            <a:ext cx="99630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200" b="1" dirty="0">
                <a:solidFill>
                  <a:schemeClr val="accent2"/>
                </a:solidFill>
              </a:rPr>
              <a:t>Public Transports</a:t>
            </a:r>
          </a:p>
        </p:txBody>
      </p:sp>
    </p:spTree>
    <p:extLst>
      <p:ext uri="{BB962C8B-B14F-4D97-AF65-F5344CB8AC3E}">
        <p14:creationId xmlns:p14="http://schemas.microsoft.com/office/powerpoint/2010/main" val="39801941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KUS 2020 (Blau)">
  <a:themeElements>
    <a:clrScheme name="FOKUS2020">
      <a:dk1>
        <a:sysClr val="windowText" lastClr="000000"/>
      </a:dk1>
      <a:lt1>
        <a:sysClr val="window" lastClr="FFFFFF"/>
      </a:lt1>
      <a:dk2>
        <a:srgbClr val="545454"/>
      </a:dk2>
      <a:lt2>
        <a:srgbClr val="C8CACC"/>
      </a:lt2>
      <a:accent1>
        <a:srgbClr val="009879"/>
      </a:accent1>
      <a:accent2>
        <a:srgbClr val="4BCA95"/>
      </a:accent2>
      <a:accent3>
        <a:srgbClr val="1A4C7B"/>
      </a:accent3>
      <a:accent4>
        <a:srgbClr val="3E8ED6"/>
      </a:accent4>
      <a:accent5>
        <a:srgbClr val="FFCC00"/>
      </a:accent5>
      <a:accent6>
        <a:srgbClr val="CC0000"/>
      </a:accent6>
      <a:hlink>
        <a:srgbClr val="009879"/>
      </a:hlink>
      <a:folHlink>
        <a:srgbClr val="C8CAC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bg1"/>
          </a:solidFill>
        </a:ln>
      </a:spPr>
      <a:bodyPr wrap="square" lIns="90000" tIns="46800" rIns="90000" bIns="46800" rtlCol="0" anchor="t">
        <a:noAutofit/>
      </a:bodyPr>
      <a:lstStyle>
        <a:defPPr marL="180000" indent="-180000" algn="l">
          <a:spcBef>
            <a:spcPts val="600"/>
          </a:spcBef>
          <a:buFont typeface="Symbol" panose="05050102010706020507" pitchFamily="18" charset="2"/>
          <a:buChar char="-"/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600"/>
          </a:spcBef>
          <a:buFont typeface="Symbol" panose="05050102010706020507" pitchFamily="18" charset="2"/>
          <a:buChar char="-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Custom Color 1">
      <a:srgbClr val="009879"/>
    </a:custClr>
    <a:custClr name="Custom Color 2">
      <a:srgbClr val="C8CACC"/>
    </a:custClr>
    <a:custClr name="Custom Color 3">
      <a:srgbClr val="671F5E"/>
    </a:custClr>
    <a:custClr name="Custom Color 4">
      <a:srgbClr val="6EAB3E"/>
    </a:custClr>
    <a:custClr name="Custom Color 5">
      <a:srgbClr val="43697B"/>
    </a:custClr>
    <a:custClr name="Custom Color 6">
      <a:srgbClr val="FBBA00"/>
    </a:custClr>
    <a:custClr name="Custom Color 7">
      <a:srgbClr val="16BAE7"/>
    </a:custClr>
    <a:custClr name="Custom Color 8">
      <a:srgbClr val="F18700"/>
    </a:custClr>
    <a:custClr name="Custom Color 9">
      <a:srgbClr val="AD2221"/>
    </a:custClr>
    <a:custClr name="Custom Color 10">
      <a:srgbClr val="A31077"/>
    </a:custClr>
  </a:custClrLst>
  <a:extLst>
    <a:ext uri="{05A4C25C-085E-4340-85A3-A5531E510DB2}">
      <thm15:themeFamily xmlns:thm15="http://schemas.microsoft.com/office/thememl/2012/main" name="Präsentation2.potx" id="{3B99ACC5-2B76-4A4A-8CA6-BC9DF31B4968}" vid="{3DC0BA6D-F073-4A44-9F1A-B786CBFC6C1E}"/>
    </a:ext>
  </a:extLst>
</a:theme>
</file>

<file path=ppt/theme/theme2.xml><?xml version="1.0" encoding="utf-8"?>
<a:theme xmlns:a="http://schemas.openxmlformats.org/drawingml/2006/main" name="FOKUS 2018 (Grün)">
  <a:themeElements>
    <a:clrScheme name="Benutzerdefiniert 34">
      <a:dk1>
        <a:srgbClr val="000000"/>
      </a:dk1>
      <a:lt1>
        <a:srgbClr val="FFFFFF"/>
      </a:lt1>
      <a:dk2>
        <a:srgbClr val="545454"/>
      </a:dk2>
      <a:lt2>
        <a:srgbClr val="C8CACC"/>
      </a:lt2>
      <a:accent1>
        <a:srgbClr val="009879"/>
      </a:accent1>
      <a:accent2>
        <a:srgbClr val="4BCA95"/>
      </a:accent2>
      <a:accent3>
        <a:srgbClr val="1A4C7B"/>
      </a:accent3>
      <a:accent4>
        <a:srgbClr val="3E8ED6"/>
      </a:accent4>
      <a:accent5>
        <a:srgbClr val="C8CACC"/>
      </a:accent5>
      <a:accent6>
        <a:srgbClr val="545454"/>
      </a:accent6>
      <a:hlink>
        <a:srgbClr val="3E8ED6"/>
      </a:hlink>
      <a:folHlink>
        <a:srgbClr val="C8CAC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wrap="square" lIns="90000" tIns="46800" rIns="90000" bIns="46800" rtlCol="0" anchor="t">
        <a:noAutofit/>
      </a:bodyPr>
      <a:lstStyle>
        <a:defPPr marL="180000" indent="-180000" algn="l">
          <a:spcBef>
            <a:spcPts val="600"/>
          </a:spcBef>
          <a:buFont typeface="Symbol" panose="05050102010706020507" pitchFamily="18" charset="2"/>
          <a:buChar char="-"/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600"/>
          </a:spcBef>
          <a:buFont typeface="Symbol" panose="05050102010706020507" pitchFamily="18" charset="2"/>
          <a:buChar char="-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Custom Color 1">
      <a:srgbClr val="009879"/>
    </a:custClr>
    <a:custClr name="Custom Color 2">
      <a:srgbClr val="C8CACC"/>
    </a:custClr>
    <a:custClr name="Custom Color 3">
      <a:srgbClr val="671F5E"/>
    </a:custClr>
    <a:custClr name="Custom Color 4">
      <a:srgbClr val="6EAB3E"/>
    </a:custClr>
    <a:custClr name="Custom Color 5">
      <a:srgbClr val="43697B"/>
    </a:custClr>
    <a:custClr name="Custom Color 6">
      <a:srgbClr val="FBBA00"/>
    </a:custClr>
    <a:custClr name="Custom Color 7">
      <a:srgbClr val="16BAE7"/>
    </a:custClr>
    <a:custClr name="Custom Color 8">
      <a:srgbClr val="F18700"/>
    </a:custClr>
    <a:custClr name="Custom Color 9">
      <a:srgbClr val="AD2221"/>
    </a:custClr>
    <a:custClr name="Custom Color 10">
      <a:srgbClr val="A31077"/>
    </a:custClr>
  </a:custClrLst>
  <a:extLst>
    <a:ext uri="{05A4C25C-085E-4340-85A3-A5531E510DB2}">
      <thm15:themeFamily xmlns:thm15="http://schemas.microsoft.com/office/thememl/2012/main" name="Präsentation2.potx" id="{3B99ACC5-2B76-4A4A-8CA6-BC9DF31B4968}" vid="{E6963143-5589-4834-A0C8-9283CBAEDE80}"/>
    </a:ext>
  </a:extLst>
</a:theme>
</file>

<file path=ppt/theme/theme3.xml><?xml version="1.0" encoding="utf-8"?>
<a:theme xmlns:a="http://schemas.openxmlformats.org/drawingml/2006/main" name="FOKUS 2018 (Grau)">
  <a:themeElements>
    <a:clrScheme name="Frauenhofer Fokus">
      <a:dk1>
        <a:sysClr val="windowText" lastClr="000000"/>
      </a:dk1>
      <a:lt1>
        <a:sysClr val="window" lastClr="FFFFFF"/>
      </a:lt1>
      <a:dk2>
        <a:srgbClr val="545454"/>
      </a:dk2>
      <a:lt2>
        <a:srgbClr val="C8CACC"/>
      </a:lt2>
      <a:accent1>
        <a:srgbClr val="009879"/>
      </a:accent1>
      <a:accent2>
        <a:srgbClr val="4BCA95"/>
      </a:accent2>
      <a:accent3>
        <a:srgbClr val="1A4C7B"/>
      </a:accent3>
      <a:accent4>
        <a:srgbClr val="3E8ED6"/>
      </a:accent4>
      <a:accent5>
        <a:srgbClr val="C8CACC"/>
      </a:accent5>
      <a:accent6>
        <a:srgbClr val="545454"/>
      </a:accent6>
      <a:hlink>
        <a:srgbClr val="3E8ED6"/>
      </a:hlink>
      <a:folHlink>
        <a:srgbClr val="C8CAC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wrap="square" lIns="90000" tIns="46800" rIns="90000" bIns="46800" rtlCol="0" anchor="t">
        <a:noAutofit/>
      </a:bodyPr>
      <a:lstStyle>
        <a:defPPr marL="180000" indent="-180000" algn="l">
          <a:spcBef>
            <a:spcPts val="600"/>
          </a:spcBef>
          <a:buFont typeface="Symbol" panose="05050102010706020507" pitchFamily="18" charset="2"/>
          <a:buChar char="-"/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600"/>
          </a:spcBef>
          <a:buFont typeface="Symbol" panose="05050102010706020507" pitchFamily="18" charset="2"/>
          <a:buChar char="-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Custom Color 1">
      <a:srgbClr val="009879"/>
    </a:custClr>
    <a:custClr name="Custom Color 2">
      <a:srgbClr val="C8CACC"/>
    </a:custClr>
    <a:custClr name="Custom Color 3">
      <a:srgbClr val="671F5E"/>
    </a:custClr>
    <a:custClr name="Custom Color 4">
      <a:srgbClr val="6EAB3E"/>
    </a:custClr>
    <a:custClr name="Custom Color 5">
      <a:srgbClr val="43697B"/>
    </a:custClr>
    <a:custClr name="Custom Color 6">
      <a:srgbClr val="FBBA00"/>
    </a:custClr>
    <a:custClr name="Custom Color 7">
      <a:srgbClr val="16BAE7"/>
    </a:custClr>
    <a:custClr name="Custom Color 8">
      <a:srgbClr val="F18700"/>
    </a:custClr>
    <a:custClr name="Custom Color 9">
      <a:srgbClr val="AD2221"/>
    </a:custClr>
    <a:custClr name="Custom Color 10">
      <a:srgbClr val="A31077"/>
    </a:custClr>
  </a:custClrLst>
  <a:extLst>
    <a:ext uri="{05A4C25C-085E-4340-85A3-A5531E510DB2}">
      <thm15:themeFamily xmlns:thm15="http://schemas.microsoft.com/office/thememl/2012/main" name="Präsentation2.potx" id="{3B99ACC5-2B76-4A4A-8CA6-BC9DF31B4968}" vid="{F68F7C40-9343-4C72-95A0-E6951D9DD7F2}"/>
    </a:ext>
  </a:extLst>
</a:theme>
</file>

<file path=ppt/theme/theme4.xml><?xml version="1.0" encoding="utf-8"?>
<a:theme xmlns:a="http://schemas.openxmlformats.org/drawingml/2006/main" name="1_FOKUS 2018 (Blau)">
  <a:themeElements>
    <a:clrScheme name="Frauenhofer Fokus">
      <a:dk1>
        <a:sysClr val="windowText" lastClr="000000"/>
      </a:dk1>
      <a:lt1>
        <a:sysClr val="window" lastClr="FFFFFF"/>
      </a:lt1>
      <a:dk2>
        <a:srgbClr val="545454"/>
      </a:dk2>
      <a:lt2>
        <a:srgbClr val="C8CACC"/>
      </a:lt2>
      <a:accent1>
        <a:srgbClr val="009879"/>
      </a:accent1>
      <a:accent2>
        <a:srgbClr val="4BCA95"/>
      </a:accent2>
      <a:accent3>
        <a:srgbClr val="1A4C7B"/>
      </a:accent3>
      <a:accent4>
        <a:srgbClr val="3E8ED6"/>
      </a:accent4>
      <a:accent5>
        <a:srgbClr val="C8CACC"/>
      </a:accent5>
      <a:accent6>
        <a:srgbClr val="545454"/>
      </a:accent6>
      <a:hlink>
        <a:srgbClr val="3E8ED6"/>
      </a:hlink>
      <a:folHlink>
        <a:srgbClr val="C8CAC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bg1"/>
          </a:solidFill>
        </a:ln>
      </a:spPr>
      <a:bodyPr wrap="square" lIns="90000" tIns="46800" rIns="90000" bIns="46800" rtlCol="0" anchor="t">
        <a:noAutofit/>
      </a:bodyPr>
      <a:lstStyle>
        <a:defPPr marL="180000" indent="-180000" algn="l">
          <a:spcBef>
            <a:spcPts val="600"/>
          </a:spcBef>
          <a:buFont typeface="Symbol" panose="05050102010706020507" pitchFamily="18" charset="2"/>
          <a:buChar char="-"/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600"/>
          </a:spcBef>
          <a:buFont typeface="Symbol" panose="05050102010706020507" pitchFamily="18" charset="2"/>
          <a:buChar char="-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Custom Color 1">
      <a:srgbClr val="009879"/>
    </a:custClr>
    <a:custClr name="Custom Color 2">
      <a:srgbClr val="C8CACC"/>
    </a:custClr>
    <a:custClr name="Custom Color 3">
      <a:srgbClr val="671F5E"/>
    </a:custClr>
    <a:custClr name="Custom Color 4">
      <a:srgbClr val="6EAB3E"/>
    </a:custClr>
    <a:custClr name="Custom Color 5">
      <a:srgbClr val="43697B"/>
    </a:custClr>
    <a:custClr name="Custom Color 6">
      <a:srgbClr val="FBBA00"/>
    </a:custClr>
    <a:custClr name="Custom Color 7">
      <a:srgbClr val="16BAE7"/>
    </a:custClr>
    <a:custClr name="Custom Color 8">
      <a:srgbClr val="F18700"/>
    </a:custClr>
    <a:custClr name="Custom Color 9">
      <a:srgbClr val="AD2221"/>
    </a:custClr>
    <a:custClr name="Custom Color 10">
      <a:srgbClr val="A31077"/>
    </a:custClr>
  </a:custClrLst>
</a:theme>
</file>

<file path=ppt/theme/theme5.xml><?xml version="1.0" encoding="utf-8"?>
<a:theme xmlns:a="http://schemas.openxmlformats.org/drawingml/2006/main" name="FOKUS 2018 (Blau)">
  <a:themeElements>
    <a:clrScheme name="Frauenhofer Fokus">
      <a:dk1>
        <a:sysClr val="windowText" lastClr="000000"/>
      </a:dk1>
      <a:lt1>
        <a:sysClr val="window" lastClr="FFFFFF"/>
      </a:lt1>
      <a:dk2>
        <a:srgbClr val="545454"/>
      </a:dk2>
      <a:lt2>
        <a:srgbClr val="C8CACC"/>
      </a:lt2>
      <a:accent1>
        <a:srgbClr val="009879"/>
      </a:accent1>
      <a:accent2>
        <a:srgbClr val="4BCA95"/>
      </a:accent2>
      <a:accent3>
        <a:srgbClr val="1A4C7B"/>
      </a:accent3>
      <a:accent4>
        <a:srgbClr val="3E8ED6"/>
      </a:accent4>
      <a:accent5>
        <a:srgbClr val="C8CACC"/>
      </a:accent5>
      <a:accent6>
        <a:srgbClr val="545454"/>
      </a:accent6>
      <a:hlink>
        <a:srgbClr val="3E8ED6"/>
      </a:hlink>
      <a:folHlink>
        <a:srgbClr val="C8CAC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bg1"/>
          </a:solidFill>
        </a:ln>
      </a:spPr>
      <a:bodyPr wrap="square" lIns="90000" tIns="46800" rIns="90000" bIns="46800" rtlCol="0" anchor="t">
        <a:noAutofit/>
      </a:bodyPr>
      <a:lstStyle>
        <a:defPPr marL="180000" indent="-180000" algn="l">
          <a:spcBef>
            <a:spcPts val="600"/>
          </a:spcBef>
          <a:buFont typeface="Symbol" panose="05050102010706020507" pitchFamily="18" charset="2"/>
          <a:buChar char="-"/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600"/>
          </a:spcBef>
          <a:buFont typeface="Symbol" panose="05050102010706020507" pitchFamily="18" charset="2"/>
          <a:buChar char="-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Custom Color 1">
      <a:srgbClr val="009879"/>
    </a:custClr>
    <a:custClr name="Custom Color 2">
      <a:srgbClr val="C8CACC"/>
    </a:custClr>
    <a:custClr name="Custom Color 3">
      <a:srgbClr val="671F5E"/>
    </a:custClr>
    <a:custClr name="Custom Color 4">
      <a:srgbClr val="6EAB3E"/>
    </a:custClr>
    <a:custClr name="Custom Color 5">
      <a:srgbClr val="43697B"/>
    </a:custClr>
    <a:custClr name="Custom Color 6">
      <a:srgbClr val="FBBA00"/>
    </a:custClr>
    <a:custClr name="Custom Color 7">
      <a:srgbClr val="16BAE7"/>
    </a:custClr>
    <a:custClr name="Custom Color 8">
      <a:srgbClr val="F18700"/>
    </a:custClr>
    <a:custClr name="Custom Color 9">
      <a:srgbClr val="AD2221"/>
    </a:custClr>
    <a:custClr name="Custom Color 10">
      <a:srgbClr val="A31077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BaseCamp_Projektergebnisse</Template>
  <TotalTime>0</TotalTime>
  <Words>32</Words>
  <Application>Microsoft Office PowerPoint</Application>
  <PresentationFormat>Breitbild</PresentationFormat>
  <Paragraphs>1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Symbol</vt:lpstr>
      <vt:lpstr>FOKUS 2020 (Blau)</vt:lpstr>
      <vt:lpstr>FOKUS 2018 (Grün)</vt:lpstr>
      <vt:lpstr>FOKUS 2018 (Grau)</vt:lpstr>
      <vt:lpstr>1_FOKUS 2018 (Blau)</vt:lpstr>
      <vt:lpstr>FOKUS 2018 (Blau)</vt:lpstr>
      <vt:lpstr>think-cell Folie</vt:lpstr>
      <vt:lpstr>PowerPoint-Präsentation</vt:lpstr>
    </vt:vector>
  </TitlesOfParts>
  <Company>Fraunhofer FOKU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weppenhäuser, Moritz</dc:creator>
  <cp:lastModifiedBy>Schweppenhäuser, Moritz</cp:lastModifiedBy>
  <cp:revision>1</cp:revision>
  <dcterms:created xsi:type="dcterms:W3CDTF">2022-07-19T12:55:28Z</dcterms:created>
  <dcterms:modified xsi:type="dcterms:W3CDTF">2022-07-19T12:56:49Z</dcterms:modified>
</cp:coreProperties>
</file>